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74" r:id="rId6"/>
    <p:sldMasterId id="2147484464" r:id="rId7"/>
    <p:sldMasterId id="2147484493" r:id="rId8"/>
  </p:sldMasterIdLst>
  <p:notesMasterIdLst>
    <p:notesMasterId r:id="rId37"/>
  </p:notesMasterIdLst>
  <p:handoutMasterIdLst>
    <p:handoutMasterId r:id="rId38"/>
  </p:handoutMasterIdLst>
  <p:sldIdLst>
    <p:sldId id="326" r:id="rId9"/>
    <p:sldId id="334" r:id="rId10"/>
    <p:sldId id="319" r:id="rId11"/>
    <p:sldId id="335" r:id="rId12"/>
    <p:sldId id="327" r:id="rId13"/>
    <p:sldId id="337" r:id="rId14"/>
    <p:sldId id="295" r:id="rId15"/>
    <p:sldId id="349" r:id="rId16"/>
    <p:sldId id="350" r:id="rId17"/>
    <p:sldId id="355" r:id="rId18"/>
    <p:sldId id="356" r:id="rId19"/>
    <p:sldId id="358" r:id="rId20"/>
    <p:sldId id="359" r:id="rId21"/>
    <p:sldId id="360" r:id="rId22"/>
    <p:sldId id="361" r:id="rId23"/>
    <p:sldId id="362" r:id="rId24"/>
    <p:sldId id="363" r:id="rId25"/>
    <p:sldId id="364" r:id="rId26"/>
    <p:sldId id="341" r:id="rId27"/>
    <p:sldId id="347" r:id="rId28"/>
    <p:sldId id="344" r:id="rId29"/>
    <p:sldId id="345" r:id="rId30"/>
    <p:sldId id="346" r:id="rId31"/>
    <p:sldId id="348" r:id="rId32"/>
    <p:sldId id="365" r:id="rId33"/>
    <p:sldId id="340" r:id="rId34"/>
    <p:sldId id="338" r:id="rId35"/>
    <p:sldId id="366" r:id="rId3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Judi Lee" initials="JL" lastIdx="6" clrIdx="4">
    <p:extLst>
      <p:ext uri="{19B8F6BF-5375-455C-9EA6-DF929625EA0E}">
        <p15:presenceInfo xmlns:p15="http://schemas.microsoft.com/office/powerpoint/2012/main" userId="Judi Lee" providerId="None"/>
      </p:ext>
    </p:extLst>
  </p:cmAuthor>
  <p:cmAuthor id="5" name="Kaylee McAvoy" initials="KM" lastIdx="7" clrIdx="5">
    <p:extLst>
      <p:ext uri="{19B8F6BF-5375-455C-9EA6-DF929625EA0E}">
        <p15:presenceInfo xmlns:p15="http://schemas.microsoft.com/office/powerpoint/2012/main" userId="Kaylee McAvo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8D7"/>
    <a:srgbClr val="94BEFF"/>
    <a:srgbClr val="053B7D"/>
    <a:srgbClr val="F2C812"/>
    <a:srgbClr val="000000"/>
    <a:srgbClr val="969696"/>
    <a:srgbClr val="00188F"/>
    <a:srgbClr val="00193E"/>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17" autoAdjust="0"/>
    <p:restoredTop sz="92363" autoAdjust="0"/>
  </p:normalViewPr>
  <p:slideViewPr>
    <p:cSldViewPr snapToGrid="0">
      <p:cViewPr varScale="1">
        <p:scale>
          <a:sx n="84" d="100"/>
          <a:sy n="84" d="100"/>
        </p:scale>
        <p:origin x="176"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p:scale>
          <a:sx n="75" d="100"/>
          <a:sy n="75" d="100"/>
        </p:scale>
        <p:origin x="3288" y="21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commentAuthors" Target="commentAuthor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31830F-45DC-4CE4-9C4E-3E2490AF9761}" type="doc">
      <dgm:prSet loTypeId="urn:microsoft.com/office/officeart/2005/8/layout/vList3" loCatId="picture" qsTypeId="urn:microsoft.com/office/officeart/2005/8/quickstyle/simple1" qsCatId="simple" csTypeId="urn:microsoft.com/office/officeart/2005/8/colors/accent6_2" csCatId="accent6" phldr="1"/>
      <dgm:spPr/>
    </dgm:pt>
    <dgm:pt modelId="{86242301-A399-4D02-9C59-654F1DFF3DCD}">
      <dgm:prSet phldrT="[Text]"/>
      <dgm:spPr>
        <a:xfrm rot="10800000">
          <a:off x="260531" y="7"/>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1</a:t>
          </a:r>
        </a:p>
      </dgm:t>
    </dgm:pt>
    <dgm:pt modelId="{594999EF-725D-4169-94C3-F0EB942ABB52}" type="parTrans" cxnId="{F10B3CAA-56E1-49C2-AC78-308643D67D4C}">
      <dgm:prSet/>
      <dgm:spPr/>
      <dgm:t>
        <a:bodyPr/>
        <a:lstStyle/>
        <a:p>
          <a:endParaRPr lang="en-US"/>
        </a:p>
      </dgm:t>
    </dgm:pt>
    <dgm:pt modelId="{8DA93187-03BC-45F9-B87C-95D2F1BF49A5}" type="sibTrans" cxnId="{F10B3CAA-56E1-49C2-AC78-308643D67D4C}">
      <dgm:prSet/>
      <dgm:spPr/>
      <dgm:t>
        <a:bodyPr/>
        <a:lstStyle/>
        <a:p>
          <a:endParaRPr lang="en-US"/>
        </a:p>
      </dgm:t>
    </dgm:pt>
    <dgm:pt modelId="{4587F3EE-C43A-4766-85D0-8197C4E8AC24}">
      <dgm:prSet phldrT="[Text]"/>
      <dgm:spPr>
        <a:xfrm rot="10800000">
          <a:off x="260531" y="240439"/>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2</a:t>
          </a:r>
        </a:p>
      </dgm:t>
    </dgm:pt>
    <dgm:pt modelId="{B4B74ECC-C958-47E6-AFD3-5D431486445D}" type="parTrans" cxnId="{8D7F0342-E28C-4FE0-810F-73B346CCB546}">
      <dgm:prSet/>
      <dgm:spPr/>
      <dgm:t>
        <a:bodyPr/>
        <a:lstStyle/>
        <a:p>
          <a:endParaRPr lang="en-US"/>
        </a:p>
      </dgm:t>
    </dgm:pt>
    <dgm:pt modelId="{9037F5C2-756B-479D-8B2F-528CBCCE318B}" type="sibTrans" cxnId="{8D7F0342-E28C-4FE0-810F-73B346CCB546}">
      <dgm:prSet/>
      <dgm:spPr/>
      <dgm:t>
        <a:bodyPr/>
        <a:lstStyle/>
        <a:p>
          <a:endParaRPr lang="en-US"/>
        </a:p>
      </dgm:t>
    </dgm:pt>
    <dgm:pt modelId="{E6012B62-FC6A-4D65-AF23-0CE315CC25EE}">
      <dgm:prSet phldrT="[Text]"/>
      <dgm:spPr>
        <a:xfrm rot="10800000">
          <a:off x="260531" y="480870"/>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3</a:t>
          </a:r>
        </a:p>
      </dgm:t>
    </dgm:pt>
    <dgm:pt modelId="{77E86E54-881B-47E7-89E3-F18ED5E1F58E}" type="parTrans" cxnId="{DDB31C6C-CD70-4E1E-BA5A-507522695FF1}">
      <dgm:prSet/>
      <dgm:spPr/>
      <dgm:t>
        <a:bodyPr/>
        <a:lstStyle/>
        <a:p>
          <a:endParaRPr lang="en-US"/>
        </a:p>
      </dgm:t>
    </dgm:pt>
    <dgm:pt modelId="{7AF8DC19-4821-47B5-B0D0-299599CB1D08}" type="sibTrans" cxnId="{DDB31C6C-CD70-4E1E-BA5A-507522695FF1}">
      <dgm:prSet/>
      <dgm:spPr/>
      <dgm:t>
        <a:bodyPr/>
        <a:lstStyle/>
        <a:p>
          <a:endParaRPr lang="en-US"/>
        </a:p>
      </dgm:t>
    </dgm:pt>
    <dgm:pt modelId="{10C1BFFC-8E43-4F10-9F30-1699D3CC4459}" type="pres">
      <dgm:prSet presAssocID="{1231830F-45DC-4CE4-9C4E-3E2490AF9761}" presName="linearFlow" presStyleCnt="0">
        <dgm:presLayoutVars>
          <dgm:dir/>
          <dgm:resizeHandles val="exact"/>
        </dgm:presLayoutVars>
      </dgm:prSet>
      <dgm:spPr/>
    </dgm:pt>
    <dgm:pt modelId="{7A22EE67-E71A-4358-8837-29CF952EF073}" type="pres">
      <dgm:prSet presAssocID="{86242301-A399-4D02-9C59-654F1DFF3DCD}" presName="composite" presStyleCnt="0"/>
      <dgm:spPr/>
    </dgm:pt>
    <dgm:pt modelId="{7D97F08E-5292-49CF-94C4-53FE10A84D7C}" type="pres">
      <dgm:prSet presAssocID="{86242301-A399-4D02-9C59-654F1DFF3DCD}" presName="imgShp" presStyleLbl="fgImgPlace1" presStyleIdx="0" presStyleCnt="3"/>
      <dgm:spPr>
        <a:xfrm>
          <a:off x="167951" y="7"/>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E13F17DE-DA58-40DB-9B8C-D2496BD3D737}" type="pres">
      <dgm:prSet presAssocID="{86242301-A399-4D02-9C59-654F1DFF3DCD}" presName="txShp" presStyleLbl="node1" presStyleIdx="0" presStyleCnt="3">
        <dgm:presLayoutVars>
          <dgm:bulletEnabled val="1"/>
        </dgm:presLayoutVars>
      </dgm:prSet>
      <dgm:spPr>
        <a:prstGeom prst="homePlate">
          <a:avLst/>
        </a:prstGeom>
      </dgm:spPr>
    </dgm:pt>
    <dgm:pt modelId="{E2B13F3A-CCFA-4B92-99E0-7E35D995BB80}" type="pres">
      <dgm:prSet presAssocID="{8DA93187-03BC-45F9-B87C-95D2F1BF49A5}" presName="spacing" presStyleCnt="0"/>
      <dgm:spPr/>
    </dgm:pt>
    <dgm:pt modelId="{7D81FC9D-E76D-4252-B07D-67C4316313A6}" type="pres">
      <dgm:prSet presAssocID="{4587F3EE-C43A-4766-85D0-8197C4E8AC24}" presName="composite" presStyleCnt="0"/>
      <dgm:spPr/>
    </dgm:pt>
    <dgm:pt modelId="{14553D68-4F77-4C44-981B-3865843A233A}" type="pres">
      <dgm:prSet presAssocID="{4587F3EE-C43A-4766-85D0-8197C4E8AC24}" presName="imgShp" presStyleLbl="fgImgPlace1" presStyleIdx="1" presStyleCnt="3"/>
      <dgm:spPr>
        <a:xfrm>
          <a:off x="167951" y="240439"/>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26D23399-11D6-44AC-8C61-52B1F763FB38}" type="pres">
      <dgm:prSet presAssocID="{4587F3EE-C43A-4766-85D0-8197C4E8AC24}" presName="txShp" presStyleLbl="node1" presStyleIdx="1" presStyleCnt="3">
        <dgm:presLayoutVars>
          <dgm:bulletEnabled val="1"/>
        </dgm:presLayoutVars>
      </dgm:prSet>
      <dgm:spPr>
        <a:prstGeom prst="homePlate">
          <a:avLst/>
        </a:prstGeom>
      </dgm:spPr>
    </dgm:pt>
    <dgm:pt modelId="{5602251A-456E-4C33-86E2-9C8B66C646D2}" type="pres">
      <dgm:prSet presAssocID="{9037F5C2-756B-479D-8B2F-528CBCCE318B}" presName="spacing" presStyleCnt="0"/>
      <dgm:spPr/>
    </dgm:pt>
    <dgm:pt modelId="{1859BE7C-B778-4C70-8354-CCE8631D89CB}" type="pres">
      <dgm:prSet presAssocID="{E6012B62-FC6A-4D65-AF23-0CE315CC25EE}" presName="composite" presStyleCnt="0"/>
      <dgm:spPr/>
    </dgm:pt>
    <dgm:pt modelId="{7581BF07-D87B-4766-9F80-8CF876262502}" type="pres">
      <dgm:prSet presAssocID="{E6012B62-FC6A-4D65-AF23-0CE315CC25EE}" presName="imgShp" presStyleLbl="fgImgPlace1" presStyleIdx="2" presStyleCnt="3"/>
      <dgm:spPr>
        <a:xfrm>
          <a:off x="167951" y="480870"/>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9274F97B-7CC1-4A7C-8C47-3E965E59C505}" type="pres">
      <dgm:prSet presAssocID="{E6012B62-FC6A-4D65-AF23-0CE315CC25EE}" presName="txShp" presStyleLbl="node1" presStyleIdx="2" presStyleCnt="3">
        <dgm:presLayoutVars>
          <dgm:bulletEnabled val="1"/>
        </dgm:presLayoutVars>
      </dgm:prSet>
      <dgm:spPr>
        <a:prstGeom prst="homePlate">
          <a:avLst/>
        </a:prstGeom>
      </dgm:spPr>
    </dgm:pt>
  </dgm:ptLst>
  <dgm:cxnLst>
    <dgm:cxn modelId="{0A699788-B4AB-444E-A151-986A2B5220FF}" type="presOf" srcId="{1231830F-45DC-4CE4-9C4E-3E2490AF9761}" destId="{10C1BFFC-8E43-4F10-9F30-1699D3CC4459}" srcOrd="0" destOrd="0" presId="urn:microsoft.com/office/officeart/2005/8/layout/vList3"/>
    <dgm:cxn modelId="{5B3E65B6-D0BE-41B2-88A3-0110E06C0AF7}" type="presOf" srcId="{E6012B62-FC6A-4D65-AF23-0CE315CC25EE}" destId="{9274F97B-7CC1-4A7C-8C47-3E965E59C505}" srcOrd="0" destOrd="0" presId="urn:microsoft.com/office/officeart/2005/8/layout/vList3"/>
    <dgm:cxn modelId="{F10B3CAA-56E1-49C2-AC78-308643D67D4C}" srcId="{1231830F-45DC-4CE4-9C4E-3E2490AF9761}" destId="{86242301-A399-4D02-9C59-654F1DFF3DCD}" srcOrd="0" destOrd="0" parTransId="{594999EF-725D-4169-94C3-F0EB942ABB52}" sibTransId="{8DA93187-03BC-45F9-B87C-95D2F1BF49A5}"/>
    <dgm:cxn modelId="{A9241FEC-DDD1-461B-A54A-1A999E2B7F20}" type="presOf" srcId="{4587F3EE-C43A-4766-85D0-8197C4E8AC24}" destId="{26D23399-11D6-44AC-8C61-52B1F763FB38}" srcOrd="0" destOrd="0" presId="urn:microsoft.com/office/officeart/2005/8/layout/vList3"/>
    <dgm:cxn modelId="{CA90E81C-E426-43C0-9309-82F7542C4031}" type="presOf" srcId="{86242301-A399-4D02-9C59-654F1DFF3DCD}" destId="{E13F17DE-DA58-40DB-9B8C-D2496BD3D737}" srcOrd="0" destOrd="0" presId="urn:microsoft.com/office/officeart/2005/8/layout/vList3"/>
    <dgm:cxn modelId="{8D7F0342-E28C-4FE0-810F-73B346CCB546}" srcId="{1231830F-45DC-4CE4-9C4E-3E2490AF9761}" destId="{4587F3EE-C43A-4766-85D0-8197C4E8AC24}" srcOrd="1" destOrd="0" parTransId="{B4B74ECC-C958-47E6-AFD3-5D431486445D}" sibTransId="{9037F5C2-756B-479D-8B2F-528CBCCE318B}"/>
    <dgm:cxn modelId="{DDB31C6C-CD70-4E1E-BA5A-507522695FF1}" srcId="{1231830F-45DC-4CE4-9C4E-3E2490AF9761}" destId="{E6012B62-FC6A-4D65-AF23-0CE315CC25EE}" srcOrd="2" destOrd="0" parTransId="{77E86E54-881B-47E7-89E3-F18ED5E1F58E}" sibTransId="{7AF8DC19-4821-47B5-B0D0-299599CB1D08}"/>
    <dgm:cxn modelId="{B2ADC342-7360-4675-B0B1-D31461611CE9}" type="presParOf" srcId="{10C1BFFC-8E43-4F10-9F30-1699D3CC4459}" destId="{7A22EE67-E71A-4358-8837-29CF952EF073}" srcOrd="0" destOrd="0" presId="urn:microsoft.com/office/officeart/2005/8/layout/vList3"/>
    <dgm:cxn modelId="{20772C67-66E9-4673-B1D8-8AE8B1DC127C}" type="presParOf" srcId="{7A22EE67-E71A-4358-8837-29CF952EF073}" destId="{7D97F08E-5292-49CF-94C4-53FE10A84D7C}" srcOrd="0" destOrd="0" presId="urn:microsoft.com/office/officeart/2005/8/layout/vList3"/>
    <dgm:cxn modelId="{E19CA0F4-E58F-4CC3-960C-A91CEE22E7E7}" type="presParOf" srcId="{7A22EE67-E71A-4358-8837-29CF952EF073}" destId="{E13F17DE-DA58-40DB-9B8C-D2496BD3D737}" srcOrd="1" destOrd="0" presId="urn:microsoft.com/office/officeart/2005/8/layout/vList3"/>
    <dgm:cxn modelId="{AC0CE6F3-8C92-425B-8EAA-369B6DAA51B6}" type="presParOf" srcId="{10C1BFFC-8E43-4F10-9F30-1699D3CC4459}" destId="{E2B13F3A-CCFA-4B92-99E0-7E35D995BB80}" srcOrd="1" destOrd="0" presId="urn:microsoft.com/office/officeart/2005/8/layout/vList3"/>
    <dgm:cxn modelId="{8967290D-7DC3-4DBB-BE2E-2B19D72A6A64}" type="presParOf" srcId="{10C1BFFC-8E43-4F10-9F30-1699D3CC4459}" destId="{7D81FC9D-E76D-4252-B07D-67C4316313A6}" srcOrd="2" destOrd="0" presId="urn:microsoft.com/office/officeart/2005/8/layout/vList3"/>
    <dgm:cxn modelId="{881C4B8D-3F41-4AF0-BC0F-7A32ECE80E18}" type="presParOf" srcId="{7D81FC9D-E76D-4252-B07D-67C4316313A6}" destId="{14553D68-4F77-4C44-981B-3865843A233A}" srcOrd="0" destOrd="0" presId="urn:microsoft.com/office/officeart/2005/8/layout/vList3"/>
    <dgm:cxn modelId="{A6E07E24-F160-4FD0-84C4-F802894FA632}" type="presParOf" srcId="{7D81FC9D-E76D-4252-B07D-67C4316313A6}" destId="{26D23399-11D6-44AC-8C61-52B1F763FB38}" srcOrd="1" destOrd="0" presId="urn:microsoft.com/office/officeart/2005/8/layout/vList3"/>
    <dgm:cxn modelId="{7809F8AB-8A35-4B66-B59C-BBF7FBC07809}" type="presParOf" srcId="{10C1BFFC-8E43-4F10-9F30-1699D3CC4459}" destId="{5602251A-456E-4C33-86E2-9C8B66C646D2}" srcOrd="3" destOrd="0" presId="urn:microsoft.com/office/officeart/2005/8/layout/vList3"/>
    <dgm:cxn modelId="{2C8FE6B5-E92B-48FF-A527-BC32018E196A}" type="presParOf" srcId="{10C1BFFC-8E43-4F10-9F30-1699D3CC4459}" destId="{1859BE7C-B778-4C70-8354-CCE8631D89CB}" srcOrd="4" destOrd="0" presId="urn:microsoft.com/office/officeart/2005/8/layout/vList3"/>
    <dgm:cxn modelId="{B80D12FD-DB53-4D0C-953E-8DACF6CBE941}" type="presParOf" srcId="{1859BE7C-B778-4C70-8354-CCE8631D89CB}" destId="{7581BF07-D87B-4766-9F80-8CF876262502}" srcOrd="0" destOrd="0" presId="urn:microsoft.com/office/officeart/2005/8/layout/vList3"/>
    <dgm:cxn modelId="{9B448B07-6C5D-4E36-8675-389889EEEC8E}" type="presParOf" srcId="{1859BE7C-B778-4C70-8354-CCE8631D89CB}" destId="{9274F97B-7CC1-4A7C-8C47-3E965E59C50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231830F-45DC-4CE4-9C4E-3E2490AF9761}" type="doc">
      <dgm:prSet loTypeId="urn:microsoft.com/office/officeart/2005/8/layout/vList3" loCatId="picture" qsTypeId="urn:microsoft.com/office/officeart/2005/8/quickstyle/simple1" qsCatId="simple" csTypeId="urn:microsoft.com/office/officeart/2005/8/colors/accent6_2" csCatId="accent6" phldr="1"/>
      <dgm:spPr/>
    </dgm:pt>
    <dgm:pt modelId="{86242301-A399-4D02-9C59-654F1DFF3DCD}">
      <dgm:prSet phldrT="[Text]"/>
      <dgm:spPr>
        <a:xfrm rot="10800000">
          <a:off x="260531" y="7"/>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1</a:t>
          </a:r>
        </a:p>
      </dgm:t>
    </dgm:pt>
    <dgm:pt modelId="{594999EF-725D-4169-94C3-F0EB942ABB52}" type="parTrans" cxnId="{F10B3CAA-56E1-49C2-AC78-308643D67D4C}">
      <dgm:prSet/>
      <dgm:spPr/>
      <dgm:t>
        <a:bodyPr/>
        <a:lstStyle/>
        <a:p>
          <a:endParaRPr lang="en-US"/>
        </a:p>
      </dgm:t>
    </dgm:pt>
    <dgm:pt modelId="{8DA93187-03BC-45F9-B87C-95D2F1BF49A5}" type="sibTrans" cxnId="{F10B3CAA-56E1-49C2-AC78-308643D67D4C}">
      <dgm:prSet/>
      <dgm:spPr/>
      <dgm:t>
        <a:bodyPr/>
        <a:lstStyle/>
        <a:p>
          <a:endParaRPr lang="en-US"/>
        </a:p>
      </dgm:t>
    </dgm:pt>
    <dgm:pt modelId="{4587F3EE-C43A-4766-85D0-8197C4E8AC24}">
      <dgm:prSet phldrT="[Text]"/>
      <dgm:spPr>
        <a:xfrm rot="10800000">
          <a:off x="260531" y="240439"/>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2</a:t>
          </a:r>
        </a:p>
      </dgm:t>
    </dgm:pt>
    <dgm:pt modelId="{B4B74ECC-C958-47E6-AFD3-5D431486445D}" type="parTrans" cxnId="{8D7F0342-E28C-4FE0-810F-73B346CCB546}">
      <dgm:prSet/>
      <dgm:spPr/>
      <dgm:t>
        <a:bodyPr/>
        <a:lstStyle/>
        <a:p>
          <a:endParaRPr lang="en-US"/>
        </a:p>
      </dgm:t>
    </dgm:pt>
    <dgm:pt modelId="{9037F5C2-756B-479D-8B2F-528CBCCE318B}" type="sibTrans" cxnId="{8D7F0342-E28C-4FE0-810F-73B346CCB546}">
      <dgm:prSet/>
      <dgm:spPr/>
      <dgm:t>
        <a:bodyPr/>
        <a:lstStyle/>
        <a:p>
          <a:endParaRPr lang="en-US"/>
        </a:p>
      </dgm:t>
    </dgm:pt>
    <dgm:pt modelId="{E6012B62-FC6A-4D65-AF23-0CE315CC25EE}">
      <dgm:prSet phldrT="[Text]"/>
      <dgm:spPr>
        <a:xfrm rot="10800000">
          <a:off x="260531" y="480870"/>
          <a:ext cx="850570" cy="185159"/>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panose="020F0502020204030204"/>
              <a:ea typeface="+mn-ea"/>
              <a:cs typeface="+mn-cs"/>
            </a:rPr>
            <a:t>Customer3</a:t>
          </a:r>
        </a:p>
      </dgm:t>
    </dgm:pt>
    <dgm:pt modelId="{77E86E54-881B-47E7-89E3-F18ED5E1F58E}" type="parTrans" cxnId="{DDB31C6C-CD70-4E1E-BA5A-507522695FF1}">
      <dgm:prSet/>
      <dgm:spPr/>
      <dgm:t>
        <a:bodyPr/>
        <a:lstStyle/>
        <a:p>
          <a:endParaRPr lang="en-US"/>
        </a:p>
      </dgm:t>
    </dgm:pt>
    <dgm:pt modelId="{7AF8DC19-4821-47B5-B0D0-299599CB1D08}" type="sibTrans" cxnId="{DDB31C6C-CD70-4E1E-BA5A-507522695FF1}">
      <dgm:prSet/>
      <dgm:spPr/>
      <dgm:t>
        <a:bodyPr/>
        <a:lstStyle/>
        <a:p>
          <a:endParaRPr lang="en-US"/>
        </a:p>
      </dgm:t>
    </dgm:pt>
    <dgm:pt modelId="{10C1BFFC-8E43-4F10-9F30-1699D3CC4459}" type="pres">
      <dgm:prSet presAssocID="{1231830F-45DC-4CE4-9C4E-3E2490AF9761}" presName="linearFlow" presStyleCnt="0">
        <dgm:presLayoutVars>
          <dgm:dir/>
          <dgm:resizeHandles val="exact"/>
        </dgm:presLayoutVars>
      </dgm:prSet>
      <dgm:spPr/>
    </dgm:pt>
    <dgm:pt modelId="{7A22EE67-E71A-4358-8837-29CF952EF073}" type="pres">
      <dgm:prSet presAssocID="{86242301-A399-4D02-9C59-654F1DFF3DCD}" presName="composite" presStyleCnt="0"/>
      <dgm:spPr/>
    </dgm:pt>
    <dgm:pt modelId="{7D97F08E-5292-49CF-94C4-53FE10A84D7C}" type="pres">
      <dgm:prSet presAssocID="{86242301-A399-4D02-9C59-654F1DFF3DCD}" presName="imgShp" presStyleLbl="fgImgPlace1" presStyleIdx="0" presStyleCnt="3"/>
      <dgm:spPr>
        <a:xfrm>
          <a:off x="167951" y="7"/>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E13F17DE-DA58-40DB-9B8C-D2496BD3D737}" type="pres">
      <dgm:prSet presAssocID="{86242301-A399-4D02-9C59-654F1DFF3DCD}" presName="txShp" presStyleLbl="node1" presStyleIdx="0" presStyleCnt="3">
        <dgm:presLayoutVars>
          <dgm:bulletEnabled val="1"/>
        </dgm:presLayoutVars>
      </dgm:prSet>
      <dgm:spPr>
        <a:prstGeom prst="homePlate">
          <a:avLst/>
        </a:prstGeom>
      </dgm:spPr>
    </dgm:pt>
    <dgm:pt modelId="{E2B13F3A-CCFA-4B92-99E0-7E35D995BB80}" type="pres">
      <dgm:prSet presAssocID="{8DA93187-03BC-45F9-B87C-95D2F1BF49A5}" presName="spacing" presStyleCnt="0"/>
      <dgm:spPr/>
    </dgm:pt>
    <dgm:pt modelId="{7D81FC9D-E76D-4252-B07D-67C4316313A6}" type="pres">
      <dgm:prSet presAssocID="{4587F3EE-C43A-4766-85D0-8197C4E8AC24}" presName="composite" presStyleCnt="0"/>
      <dgm:spPr/>
    </dgm:pt>
    <dgm:pt modelId="{14553D68-4F77-4C44-981B-3865843A233A}" type="pres">
      <dgm:prSet presAssocID="{4587F3EE-C43A-4766-85D0-8197C4E8AC24}" presName="imgShp" presStyleLbl="fgImgPlace1" presStyleIdx="1" presStyleCnt="3"/>
      <dgm:spPr>
        <a:xfrm>
          <a:off x="167951" y="240439"/>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26D23399-11D6-44AC-8C61-52B1F763FB38}" type="pres">
      <dgm:prSet presAssocID="{4587F3EE-C43A-4766-85D0-8197C4E8AC24}" presName="txShp" presStyleLbl="node1" presStyleIdx="1" presStyleCnt="3">
        <dgm:presLayoutVars>
          <dgm:bulletEnabled val="1"/>
        </dgm:presLayoutVars>
      </dgm:prSet>
      <dgm:spPr>
        <a:prstGeom prst="homePlate">
          <a:avLst/>
        </a:prstGeom>
      </dgm:spPr>
    </dgm:pt>
    <dgm:pt modelId="{5602251A-456E-4C33-86E2-9C8B66C646D2}" type="pres">
      <dgm:prSet presAssocID="{9037F5C2-756B-479D-8B2F-528CBCCE318B}" presName="spacing" presStyleCnt="0"/>
      <dgm:spPr/>
    </dgm:pt>
    <dgm:pt modelId="{1859BE7C-B778-4C70-8354-CCE8631D89CB}" type="pres">
      <dgm:prSet presAssocID="{E6012B62-FC6A-4D65-AF23-0CE315CC25EE}" presName="composite" presStyleCnt="0"/>
      <dgm:spPr/>
    </dgm:pt>
    <dgm:pt modelId="{7581BF07-D87B-4766-9F80-8CF876262502}" type="pres">
      <dgm:prSet presAssocID="{E6012B62-FC6A-4D65-AF23-0CE315CC25EE}" presName="imgShp" presStyleLbl="fgImgPlace1" presStyleIdx="2" presStyleCnt="3"/>
      <dgm:spPr>
        <a:xfrm>
          <a:off x="167951" y="480870"/>
          <a:ext cx="185159" cy="185159"/>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9274F97B-7CC1-4A7C-8C47-3E965E59C505}" type="pres">
      <dgm:prSet presAssocID="{E6012B62-FC6A-4D65-AF23-0CE315CC25EE}" presName="txShp" presStyleLbl="node1" presStyleIdx="2" presStyleCnt="3">
        <dgm:presLayoutVars>
          <dgm:bulletEnabled val="1"/>
        </dgm:presLayoutVars>
      </dgm:prSet>
      <dgm:spPr>
        <a:prstGeom prst="homePlate">
          <a:avLst/>
        </a:prstGeom>
      </dgm:spPr>
    </dgm:pt>
  </dgm:ptLst>
  <dgm:cxnLst>
    <dgm:cxn modelId="{DDB31C6C-CD70-4E1E-BA5A-507522695FF1}" srcId="{1231830F-45DC-4CE4-9C4E-3E2490AF9761}" destId="{E6012B62-FC6A-4D65-AF23-0CE315CC25EE}" srcOrd="2" destOrd="0" parTransId="{77E86E54-881B-47E7-89E3-F18ED5E1F58E}" sibTransId="{7AF8DC19-4821-47B5-B0D0-299599CB1D08}"/>
    <dgm:cxn modelId="{E851F85B-BB71-420F-8779-85D8FC105F5E}" type="presOf" srcId="{4587F3EE-C43A-4766-85D0-8197C4E8AC24}" destId="{26D23399-11D6-44AC-8C61-52B1F763FB38}" srcOrd="0" destOrd="0" presId="urn:microsoft.com/office/officeart/2005/8/layout/vList3"/>
    <dgm:cxn modelId="{B55DA708-2694-46C6-AB02-E560DC2F291E}" type="presOf" srcId="{86242301-A399-4D02-9C59-654F1DFF3DCD}" destId="{E13F17DE-DA58-40DB-9B8C-D2496BD3D737}" srcOrd="0" destOrd="0" presId="urn:microsoft.com/office/officeart/2005/8/layout/vList3"/>
    <dgm:cxn modelId="{8D7F0342-E28C-4FE0-810F-73B346CCB546}" srcId="{1231830F-45DC-4CE4-9C4E-3E2490AF9761}" destId="{4587F3EE-C43A-4766-85D0-8197C4E8AC24}" srcOrd="1" destOrd="0" parTransId="{B4B74ECC-C958-47E6-AFD3-5D431486445D}" sibTransId="{9037F5C2-756B-479D-8B2F-528CBCCE318B}"/>
    <dgm:cxn modelId="{76681412-B714-43BA-BD88-976FAEFA6AD9}" type="presOf" srcId="{E6012B62-FC6A-4D65-AF23-0CE315CC25EE}" destId="{9274F97B-7CC1-4A7C-8C47-3E965E59C505}" srcOrd="0" destOrd="0" presId="urn:microsoft.com/office/officeart/2005/8/layout/vList3"/>
    <dgm:cxn modelId="{E3832403-FDAA-4D79-81E7-D840A0CE2FDD}" type="presOf" srcId="{1231830F-45DC-4CE4-9C4E-3E2490AF9761}" destId="{10C1BFFC-8E43-4F10-9F30-1699D3CC4459}" srcOrd="0" destOrd="0" presId="urn:microsoft.com/office/officeart/2005/8/layout/vList3"/>
    <dgm:cxn modelId="{F10B3CAA-56E1-49C2-AC78-308643D67D4C}" srcId="{1231830F-45DC-4CE4-9C4E-3E2490AF9761}" destId="{86242301-A399-4D02-9C59-654F1DFF3DCD}" srcOrd="0" destOrd="0" parTransId="{594999EF-725D-4169-94C3-F0EB942ABB52}" sibTransId="{8DA93187-03BC-45F9-B87C-95D2F1BF49A5}"/>
    <dgm:cxn modelId="{BFBC9119-4A28-4F65-8F8B-D85484494658}" type="presParOf" srcId="{10C1BFFC-8E43-4F10-9F30-1699D3CC4459}" destId="{7A22EE67-E71A-4358-8837-29CF952EF073}" srcOrd="0" destOrd="0" presId="urn:microsoft.com/office/officeart/2005/8/layout/vList3"/>
    <dgm:cxn modelId="{E0503C43-8598-4E9C-B5AF-4A318263C85A}" type="presParOf" srcId="{7A22EE67-E71A-4358-8837-29CF952EF073}" destId="{7D97F08E-5292-49CF-94C4-53FE10A84D7C}" srcOrd="0" destOrd="0" presId="urn:microsoft.com/office/officeart/2005/8/layout/vList3"/>
    <dgm:cxn modelId="{E99CF6C4-AE82-49B0-AF8E-BE370E6C0E8D}" type="presParOf" srcId="{7A22EE67-E71A-4358-8837-29CF952EF073}" destId="{E13F17DE-DA58-40DB-9B8C-D2496BD3D737}" srcOrd="1" destOrd="0" presId="urn:microsoft.com/office/officeart/2005/8/layout/vList3"/>
    <dgm:cxn modelId="{1573AC3A-A274-4393-B624-FCBE2945AD1D}" type="presParOf" srcId="{10C1BFFC-8E43-4F10-9F30-1699D3CC4459}" destId="{E2B13F3A-CCFA-4B92-99E0-7E35D995BB80}" srcOrd="1" destOrd="0" presId="urn:microsoft.com/office/officeart/2005/8/layout/vList3"/>
    <dgm:cxn modelId="{DC853FBD-3B31-4D53-87A9-E8A41A861DA1}" type="presParOf" srcId="{10C1BFFC-8E43-4F10-9F30-1699D3CC4459}" destId="{7D81FC9D-E76D-4252-B07D-67C4316313A6}" srcOrd="2" destOrd="0" presId="urn:microsoft.com/office/officeart/2005/8/layout/vList3"/>
    <dgm:cxn modelId="{2C595C9B-9C56-4405-AFB4-2AA79A2A7EB2}" type="presParOf" srcId="{7D81FC9D-E76D-4252-B07D-67C4316313A6}" destId="{14553D68-4F77-4C44-981B-3865843A233A}" srcOrd="0" destOrd="0" presId="urn:microsoft.com/office/officeart/2005/8/layout/vList3"/>
    <dgm:cxn modelId="{03BC924E-EF28-4CFC-8453-D90C70750DC4}" type="presParOf" srcId="{7D81FC9D-E76D-4252-B07D-67C4316313A6}" destId="{26D23399-11D6-44AC-8C61-52B1F763FB38}" srcOrd="1" destOrd="0" presId="urn:microsoft.com/office/officeart/2005/8/layout/vList3"/>
    <dgm:cxn modelId="{ECC8752B-95C8-4BC6-A53B-0B694B3095E0}" type="presParOf" srcId="{10C1BFFC-8E43-4F10-9F30-1699D3CC4459}" destId="{5602251A-456E-4C33-86E2-9C8B66C646D2}" srcOrd="3" destOrd="0" presId="urn:microsoft.com/office/officeart/2005/8/layout/vList3"/>
    <dgm:cxn modelId="{9B003B9A-7C45-4885-A838-896A05BBEA64}" type="presParOf" srcId="{10C1BFFC-8E43-4F10-9F30-1699D3CC4459}" destId="{1859BE7C-B778-4C70-8354-CCE8631D89CB}" srcOrd="4" destOrd="0" presId="urn:microsoft.com/office/officeart/2005/8/layout/vList3"/>
    <dgm:cxn modelId="{00218CD0-4743-4DA6-B864-D69BF7718110}" type="presParOf" srcId="{1859BE7C-B778-4C70-8354-CCE8631D89CB}" destId="{7581BF07-D87B-4766-9F80-8CF876262502}" srcOrd="0" destOrd="0" presId="urn:microsoft.com/office/officeart/2005/8/layout/vList3"/>
    <dgm:cxn modelId="{4CF3D1FA-0C9F-41CA-B1E5-12567CF7EAFF}" type="presParOf" srcId="{1859BE7C-B778-4C70-8354-CCE8631D89CB}" destId="{9274F97B-7CC1-4A7C-8C47-3E965E59C50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3F17DE-DA58-40DB-9B8C-D2496BD3D737}">
      <dsp:nvSpPr>
        <dsp:cNvPr id="0" name=""/>
        <dsp:cNvSpPr/>
      </dsp:nvSpPr>
      <dsp:spPr>
        <a:xfrm rot="10800000">
          <a:off x="265717" y="7"/>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ysClr val="window" lastClr="FFFFFF"/>
              </a:solidFill>
              <a:latin typeface="Calibri" panose="020F0502020204030204"/>
              <a:ea typeface="+mn-ea"/>
              <a:cs typeface="+mn-cs"/>
            </a:rPr>
            <a:t>Customer1</a:t>
          </a:r>
        </a:p>
      </dsp:txBody>
      <dsp:txXfrm rot="10800000">
        <a:off x="312928" y="7"/>
        <a:ext cx="820292" cy="188845"/>
      </dsp:txXfrm>
    </dsp:sp>
    <dsp:sp modelId="{7D97F08E-5292-49CF-94C4-53FE10A84D7C}">
      <dsp:nvSpPr>
        <dsp:cNvPr id="0" name=""/>
        <dsp:cNvSpPr/>
      </dsp:nvSpPr>
      <dsp:spPr>
        <a:xfrm>
          <a:off x="171294" y="7"/>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6D23399-11D6-44AC-8C61-52B1F763FB38}">
      <dsp:nvSpPr>
        <dsp:cNvPr id="0" name=""/>
        <dsp:cNvSpPr/>
      </dsp:nvSpPr>
      <dsp:spPr>
        <a:xfrm rot="10800000">
          <a:off x="265717" y="245225"/>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ysClr val="window" lastClr="FFFFFF"/>
              </a:solidFill>
              <a:latin typeface="Calibri" panose="020F0502020204030204"/>
              <a:ea typeface="+mn-ea"/>
              <a:cs typeface="+mn-cs"/>
            </a:rPr>
            <a:t>Customer2</a:t>
          </a:r>
        </a:p>
      </dsp:txBody>
      <dsp:txXfrm rot="10800000">
        <a:off x="312928" y="245225"/>
        <a:ext cx="820292" cy="188845"/>
      </dsp:txXfrm>
    </dsp:sp>
    <dsp:sp modelId="{14553D68-4F77-4C44-981B-3865843A233A}">
      <dsp:nvSpPr>
        <dsp:cNvPr id="0" name=""/>
        <dsp:cNvSpPr/>
      </dsp:nvSpPr>
      <dsp:spPr>
        <a:xfrm>
          <a:off x="171294" y="245225"/>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9274F97B-7CC1-4A7C-8C47-3E965E59C505}">
      <dsp:nvSpPr>
        <dsp:cNvPr id="0" name=""/>
        <dsp:cNvSpPr/>
      </dsp:nvSpPr>
      <dsp:spPr>
        <a:xfrm rot="10800000">
          <a:off x="265717" y="490443"/>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ysClr val="window" lastClr="FFFFFF"/>
              </a:solidFill>
              <a:latin typeface="Calibri" panose="020F0502020204030204"/>
              <a:ea typeface="+mn-ea"/>
              <a:cs typeface="+mn-cs"/>
            </a:rPr>
            <a:t>Customer3</a:t>
          </a:r>
        </a:p>
      </dsp:txBody>
      <dsp:txXfrm rot="10800000">
        <a:off x="312928" y="490443"/>
        <a:ext cx="820292" cy="188845"/>
      </dsp:txXfrm>
    </dsp:sp>
    <dsp:sp modelId="{7581BF07-D87B-4766-9F80-8CF876262502}">
      <dsp:nvSpPr>
        <dsp:cNvPr id="0" name=""/>
        <dsp:cNvSpPr/>
      </dsp:nvSpPr>
      <dsp:spPr>
        <a:xfrm>
          <a:off x="171294" y="490443"/>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3F17DE-DA58-40DB-9B8C-D2496BD3D737}">
      <dsp:nvSpPr>
        <dsp:cNvPr id="0" name=""/>
        <dsp:cNvSpPr/>
      </dsp:nvSpPr>
      <dsp:spPr>
        <a:xfrm rot="10800000">
          <a:off x="265717" y="7"/>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ysClr val="window" lastClr="FFFFFF"/>
              </a:solidFill>
              <a:latin typeface="Calibri" panose="020F0502020204030204"/>
              <a:ea typeface="+mn-ea"/>
              <a:cs typeface="+mn-cs"/>
            </a:rPr>
            <a:t>Customer1</a:t>
          </a:r>
        </a:p>
      </dsp:txBody>
      <dsp:txXfrm rot="10800000">
        <a:off x="312928" y="7"/>
        <a:ext cx="820292" cy="188845"/>
      </dsp:txXfrm>
    </dsp:sp>
    <dsp:sp modelId="{7D97F08E-5292-49CF-94C4-53FE10A84D7C}">
      <dsp:nvSpPr>
        <dsp:cNvPr id="0" name=""/>
        <dsp:cNvSpPr/>
      </dsp:nvSpPr>
      <dsp:spPr>
        <a:xfrm>
          <a:off x="171294" y="7"/>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6D23399-11D6-44AC-8C61-52B1F763FB38}">
      <dsp:nvSpPr>
        <dsp:cNvPr id="0" name=""/>
        <dsp:cNvSpPr/>
      </dsp:nvSpPr>
      <dsp:spPr>
        <a:xfrm rot="10800000">
          <a:off x="265717" y="245225"/>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ysClr val="window" lastClr="FFFFFF"/>
              </a:solidFill>
              <a:latin typeface="Calibri" panose="020F0502020204030204"/>
              <a:ea typeface="+mn-ea"/>
              <a:cs typeface="+mn-cs"/>
            </a:rPr>
            <a:t>Customer2</a:t>
          </a:r>
        </a:p>
      </dsp:txBody>
      <dsp:txXfrm rot="10800000">
        <a:off x="312928" y="245225"/>
        <a:ext cx="820292" cy="188845"/>
      </dsp:txXfrm>
    </dsp:sp>
    <dsp:sp modelId="{14553D68-4F77-4C44-981B-3865843A233A}">
      <dsp:nvSpPr>
        <dsp:cNvPr id="0" name=""/>
        <dsp:cNvSpPr/>
      </dsp:nvSpPr>
      <dsp:spPr>
        <a:xfrm>
          <a:off x="171294" y="245225"/>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9274F97B-7CC1-4A7C-8C47-3E965E59C505}">
      <dsp:nvSpPr>
        <dsp:cNvPr id="0" name=""/>
        <dsp:cNvSpPr/>
      </dsp:nvSpPr>
      <dsp:spPr>
        <a:xfrm rot="10800000">
          <a:off x="265717" y="490443"/>
          <a:ext cx="867503" cy="188845"/>
        </a:xfrm>
        <a:prstGeom prst="homePlate">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276" tIns="30480" rIns="56896"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ysClr val="window" lastClr="FFFFFF"/>
              </a:solidFill>
              <a:latin typeface="Calibri" panose="020F0502020204030204"/>
              <a:ea typeface="+mn-ea"/>
              <a:cs typeface="+mn-cs"/>
            </a:rPr>
            <a:t>Customer3</a:t>
          </a:r>
        </a:p>
      </dsp:txBody>
      <dsp:txXfrm rot="10800000">
        <a:off x="312928" y="490443"/>
        <a:ext cx="820292" cy="188845"/>
      </dsp:txXfrm>
    </dsp:sp>
    <dsp:sp modelId="{7581BF07-D87B-4766-9F80-8CF876262502}">
      <dsp:nvSpPr>
        <dsp:cNvPr id="0" name=""/>
        <dsp:cNvSpPr/>
      </dsp:nvSpPr>
      <dsp:spPr>
        <a:xfrm>
          <a:off x="171294" y="490443"/>
          <a:ext cx="188845" cy="188845"/>
        </a:xfrm>
        <a:prstGeom prst="ellipse">
          <a:avLst/>
        </a:prstGeom>
        <a:solidFill>
          <a:srgbClr val="70AD47">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Worldwide Partner Conference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9/2016 10:1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Worldwide Partner Conferenc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9/2016 10:1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go.microsoft.com/fwlink/?LinkID=52270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3/9/2016 10:1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288937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1</a:t>
            </a:fld>
            <a:endParaRPr lang="en-US" dirty="0"/>
          </a:p>
        </p:txBody>
      </p:sp>
    </p:spTree>
    <p:extLst>
      <p:ext uri="{BB962C8B-B14F-4D97-AF65-F5344CB8AC3E}">
        <p14:creationId xmlns:p14="http://schemas.microsoft.com/office/powerpoint/2010/main" val="749867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Semibold" panose="020B0702040204020203" pitchFamily="34" charset="0"/>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fld id="{A305278E-5E87-46DA-836C-231A3458D216}"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2714991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05278E-5E87-46DA-836C-231A3458D216}" type="slidenum">
              <a:rPr lang="en-US" smtClean="0">
                <a:latin typeface="Segoe UI" panose="020B0502040204020203" pitchFamily="34" charset="0"/>
              </a:rPr>
              <a:t>23</a:t>
            </a:fld>
            <a:endParaRPr lang="en-US">
              <a:latin typeface="Segoe UI" panose="020B0502040204020203" pitchFamily="34" charset="0"/>
            </a:endParaRPr>
          </a:p>
        </p:txBody>
      </p:sp>
    </p:spTree>
    <p:extLst>
      <p:ext uri="{BB962C8B-B14F-4D97-AF65-F5344CB8AC3E}">
        <p14:creationId xmlns:p14="http://schemas.microsoft.com/office/powerpoint/2010/main" val="3098286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4</a:t>
            </a:fld>
            <a:endParaRPr lang="en-US"/>
          </a:p>
        </p:txBody>
      </p:sp>
    </p:spTree>
    <p:extLst>
      <p:ext uri="{BB962C8B-B14F-4D97-AF65-F5344CB8AC3E}">
        <p14:creationId xmlns:p14="http://schemas.microsoft.com/office/powerpoint/2010/main" val="1483750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5</a:t>
            </a:fld>
            <a:endParaRPr lang="en-US"/>
          </a:p>
        </p:txBody>
      </p:sp>
    </p:spTree>
    <p:extLst>
      <p:ext uri="{BB962C8B-B14F-4D97-AF65-F5344CB8AC3E}">
        <p14:creationId xmlns:p14="http://schemas.microsoft.com/office/powerpoint/2010/main" val="1157034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a:p>
            <a:pPr marL="0" indent="0">
              <a:buFontTx/>
              <a:buNone/>
            </a:pPr>
            <a:br>
              <a:rPr lang="en-US" dirty="0"/>
            </a:br>
            <a:endParaRPr lang="en-US" dirty="0"/>
          </a:p>
          <a:p>
            <a:pPr marL="171450" indent="-171450">
              <a:buFontTx/>
              <a:buChar char="-"/>
            </a:pP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5616754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t>Worldwide Partner Conferenc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3/9/2016 10:1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414787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5278E-5E87-46DA-836C-231A3458D216}" type="slidenum">
              <a:rPr lang="en-US" smtClean="0"/>
              <a:t>28</a:t>
            </a:fld>
            <a:endParaRPr lang="en-US"/>
          </a:p>
        </p:txBody>
      </p:sp>
    </p:spTree>
    <p:extLst>
      <p:ext uri="{BB962C8B-B14F-4D97-AF65-F5344CB8AC3E}">
        <p14:creationId xmlns:p14="http://schemas.microsoft.com/office/powerpoint/2010/main" val="2459118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583138" marR="0" lvl="0" indent="0" algn="l" defTabSz="93271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3138" marR="0" lvl="0" indent="0" algn="l" defTabSz="93271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DBC5272-1ADD-4AF2-933B-1642BCD5E1E4}"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101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9/2016 10:1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14388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9/2016 10:1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40693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912813"/>
            <a:ext cx="8101013" cy="4556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94075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hlinkClick r:id="rId3"/>
              </a:rPr>
              <a:t>Row-Level Security</a:t>
            </a:r>
            <a:r>
              <a:rPr lang="en-US" sz="1200" kern="1200" dirty="0">
                <a:solidFill>
                  <a:schemeClr val="tx1"/>
                </a:solidFill>
                <a:effectLst/>
                <a:latin typeface="+mn-lt"/>
                <a:ea typeface="+mn-ea"/>
                <a:cs typeface="+mn-cs"/>
              </a:rPr>
              <a:t> is a programmability security feature that can be implemented on databases to enable fine-grained access to rows of data in a table for greater control over which users can access which data. This allows for more flexibility and data protection when multiple logins need to access various records in a database and can help organizations more easily support organizational or industry compliance policies. Row-Level Security is managed at the database level and requires SQL Server Management Studio (SSMS) or SQL Server Data Tools (SSDT) to implement and manage.</a:t>
            </a:r>
          </a:p>
          <a:p>
            <a:endParaRPr lang="en-US" dirty="0"/>
          </a:p>
          <a:p>
            <a:r>
              <a:rPr lang="en-US" sz="1200" kern="1200" dirty="0">
                <a:solidFill>
                  <a:schemeClr val="tx1"/>
                </a:solidFill>
                <a:effectLst/>
                <a:latin typeface="+mn-lt"/>
                <a:ea typeface="+mn-ea"/>
                <a:cs typeface="+mn-cs"/>
              </a:rPr>
              <a:t>Generally, any application which has multiple users accessing various data records can benefit from Row-Level Security; here are a few key examples:</a:t>
            </a:r>
          </a:p>
          <a:p>
            <a:pPr lvl="0"/>
            <a:r>
              <a:rPr lang="en-US" sz="1200" kern="1200" dirty="0">
                <a:solidFill>
                  <a:schemeClr val="tx1"/>
                </a:solidFill>
                <a:effectLst/>
                <a:latin typeface="+mn-lt"/>
                <a:ea typeface="+mn-ea"/>
                <a:cs typeface="+mn-cs"/>
              </a:rPr>
              <a:t>A hospital or medical clinic could implement a security policy that allows nurses and doctors to only see data rows for their own patients.</a:t>
            </a:r>
          </a:p>
          <a:p>
            <a:pPr lvl="0"/>
            <a:r>
              <a:rPr lang="en-US" sz="1200" kern="1200" dirty="0">
                <a:solidFill>
                  <a:schemeClr val="tx1"/>
                </a:solidFill>
                <a:effectLst/>
                <a:latin typeface="+mn-lt"/>
                <a:ea typeface="+mn-ea"/>
                <a:cs typeface="+mn-cs"/>
              </a:rPr>
              <a:t>A bank might implement a security policy to restrict access to financial data rows based on the employee's business division or based on her role within the company.</a:t>
            </a:r>
          </a:p>
          <a:p>
            <a:pPr lvl="0"/>
            <a:r>
              <a:rPr lang="en-US" sz="1200" kern="1200" dirty="0">
                <a:solidFill>
                  <a:schemeClr val="tx1"/>
                </a:solidFill>
                <a:effectLst/>
                <a:latin typeface="+mn-lt"/>
                <a:ea typeface="+mn-ea"/>
                <a:cs typeface="+mn-cs"/>
              </a:rPr>
              <a:t>A multi-tenant application might store multiple customer records within a single database to achieve cost efficiencies. To ensure greater data security and isolation, a security policy can be implemented to further create a logical separation of each tenant's data rows from other tenant's row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5321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ransparent Data Encryption leverages the long-time trusted encryption technology found in SQL Server and brings it to SQL Database V12 databases for encrypting a customer’s database at rest to help further protect against the threat of malicious activity. Transparent data encryption (TDE) performs real-time I/O encryption and decryption of the database, associated backups, and transaction log files. We have leveraged the latest hardware technology in the V12 service architecture to help minimize any performance impact TDE may impose on a customer’s database. </a:t>
            </a:r>
          </a:p>
          <a:p>
            <a:endParaRPr lang="en-US" dirty="0"/>
          </a:p>
          <a:p>
            <a:r>
              <a:rPr lang="en-US" sz="1200" kern="1200" dirty="0">
                <a:solidFill>
                  <a:schemeClr val="tx1"/>
                </a:solidFill>
                <a:effectLst/>
                <a:latin typeface="+mn-lt"/>
                <a:ea typeface="+mn-ea"/>
                <a:cs typeface="+mn-cs"/>
              </a:rPr>
              <a:t>It is very similar to TDE for SQL Server in that encryption/decryption is completely transparent and requires no changes to an application using a database that is protected by TDE.</a:t>
            </a:r>
          </a:p>
          <a:p>
            <a:r>
              <a:rPr lang="en-US" sz="1200" kern="1200" dirty="0">
                <a:solidFill>
                  <a:schemeClr val="tx1"/>
                </a:solidFill>
                <a:effectLst/>
                <a:latin typeface="+mn-lt"/>
                <a:ea typeface="+mn-ea"/>
                <a:cs typeface="+mn-cs"/>
              </a:rPr>
              <a:t>Unlike TDE for SQL Server, the first version of TDE for SQL DB is completely “service-managed” meaning TDE is on by default and all keys incl. rotation, backups are managed by the service. TDE for SQL DB currently does not offer an EKM option which will be provided in version 2 (see below).</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urrently, TDE uses a database encryption key (DEK) protected by a TDE certificate. The certificate is stored in the SQL Database service on separate physical hardware for availability during recovery. We will explore additional key storage options at a future date.</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440A7F1-1D53-4645-8AB9-46355AEB788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65408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66156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5AFD610-1DA2-4DE2-BEB7-46AD4E3C54F9}"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2548641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3.xml"/><Relationship Id="rId5" Type="http://schemas.openxmlformats.org/officeDocument/2006/relationships/image" Target="../media/image12.png"/><Relationship Id="rId4" Type="http://schemas.microsoft.com/office/2007/relationships/hdphoto" Target="../media/hdphoto1.wdp"/></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5"/>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800"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400"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221228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25716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51177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91324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6215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52492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09383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9287834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22243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733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9874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89131" y="6344795"/>
            <a:ext cx="1686560" cy="363259"/>
          </a:xfrm>
          <a:prstGeom prst="rect">
            <a:avLst/>
          </a:prstGeom>
        </p:spPr>
      </p:pic>
    </p:spTree>
    <p:extLst>
      <p:ext uri="{BB962C8B-B14F-4D97-AF65-F5344CB8AC3E}">
        <p14:creationId xmlns:p14="http://schemas.microsoft.com/office/powerpoint/2010/main" val="381251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4545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91447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9810155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397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9994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4896">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595101" y="6761308"/>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86799061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2708" t="16947" r="68" b="15692"/>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74586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164069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2800" dirty="0">
                <a:gradFill>
                  <a:gsLst>
                    <a:gs pos="51515">
                      <a:srgbClr val="505050"/>
                    </a:gs>
                    <a:gs pos="43000">
                      <a:srgbClr val="505050"/>
                    </a:gs>
                  </a:gsLst>
                  <a:lin ang="5400000" scaled="1"/>
                </a:gradFill>
                <a:ea typeface="Segoe UI" pitchFamily="34" charset="0"/>
                <a:cs typeface="Segoe UI" pitchFamily="34" charset="0"/>
              </a:rPr>
              <a:t>Product logo</a:t>
            </a:r>
          </a:p>
        </p:txBody>
      </p:sp>
      <p:sp>
        <p:nvSpPr>
          <p:cNvPr id="11" name="Rectangle 10"/>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400" dirty="0">
                <a:gradFill>
                  <a:gsLst>
                    <a:gs pos="51515">
                      <a:srgbClr val="505050"/>
                    </a:gs>
                    <a:gs pos="43000">
                      <a:srgbClr val="505050"/>
                    </a:gs>
                  </a:gsLst>
                  <a:lin ang="5400000" scaled="1"/>
                </a:gradFill>
                <a:ea typeface="Segoe UI" pitchFamily="34" charset="0"/>
                <a:cs typeface="Segoe UI" pitchFamily="34" charset="0"/>
              </a:rPr>
              <a:t>Update on slide master</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3616314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6712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3" y="-1"/>
            <a:ext cx="15436664" cy="8684366"/>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97" y="6164262"/>
            <a:ext cx="1686560" cy="363259"/>
          </a:xfrm>
          <a:prstGeom prst="rect">
            <a:avLst/>
          </a:prstGeom>
        </p:spPr>
      </p:pic>
    </p:spTree>
    <p:extLst>
      <p:ext uri="{BB962C8B-B14F-4D97-AF65-F5344CB8AC3E}">
        <p14:creationId xmlns:p14="http://schemas.microsoft.com/office/powerpoint/2010/main" val="131335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20679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2764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31314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90736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4432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41967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0703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18765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12829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498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49340"/>
            <a:ext cx="1707455" cy="365760"/>
          </a:xfrm>
          <a:prstGeom prst="rect">
            <a:avLst/>
          </a:prstGeom>
        </p:spPr>
      </p:pic>
    </p:spTree>
    <p:extLst>
      <p:ext uri="{BB962C8B-B14F-4D97-AF65-F5344CB8AC3E}">
        <p14:creationId xmlns:p14="http://schemas.microsoft.com/office/powerpoint/2010/main" val="931534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510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14197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350662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6075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926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436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438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89326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12087003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91190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90121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6171318"/>
            <a:ext cx="1842897" cy="677802"/>
          </a:xfrm>
          <a:prstGeom prst="rect">
            <a:avLst/>
          </a:prstGeom>
        </p:spPr>
      </p:pic>
    </p:spTree>
    <p:extLst>
      <p:ext uri="{BB962C8B-B14F-4D97-AF65-F5344CB8AC3E}">
        <p14:creationId xmlns:p14="http://schemas.microsoft.com/office/powerpoint/2010/main" val="14149234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eaLnBrk="1" fontAlgn="auto" latinLnBrk="0" hangingPunct="1">
              <a:lnSpc>
                <a:spcPct val="100000"/>
              </a:lnSpc>
              <a:spcBef>
                <a:spcPts val="0"/>
              </a:spcBef>
              <a:spcAft>
                <a:spcPts val="0"/>
              </a:spcAft>
              <a:buClrTx/>
              <a:buSzTx/>
              <a:buFontTx/>
              <a:buNone/>
              <a:tabLst/>
              <a:defRPr/>
            </a:pPr>
            <a:endParaRPr kumimoji="0" lang="en-US" sz="1785"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30397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505050"/>
                </a:solidFill>
                <a:effectLst/>
                <a:uLnTx/>
                <a:uFillTx/>
              </a:rPr>
              <a:t>Microsoft Confidential</a:t>
            </a:r>
          </a:p>
        </p:txBody>
      </p:sp>
      <p:sp>
        <p:nvSpPr>
          <p:cNvPr id="4" name="Slide Number Placeholder 3"/>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a:ln>
                <a:noFill/>
              </a:ln>
              <a:solidFill>
                <a:srgbClr val="505050"/>
              </a:solidFill>
              <a:effectLst/>
              <a:uLnTx/>
              <a:uFillTx/>
            </a:endParaRPr>
          </a:p>
        </p:txBody>
      </p:sp>
      <p:sp>
        <p:nvSpPr>
          <p:cNvPr id="8" name="Text Placeholder 7"/>
          <p:cNvSpPr>
            <a:spLocks noGrp="1"/>
          </p:cNvSpPr>
          <p:nvPr>
            <p:ph type="body" sz="quarter" idx="13" hasCustomPrompt="1"/>
          </p:nvPr>
        </p:nvSpPr>
        <p:spPr>
          <a:xfrm>
            <a:off x="274638" y="2125664"/>
            <a:ext cx="9144000" cy="2628412"/>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8230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410099376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120607418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78020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823107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55867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61269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4436798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9424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324363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48340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9178358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712251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3309854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9640619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4397693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692206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0974867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345880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7185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727158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9255410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1048592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45510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1979712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3822785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709876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66013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395141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1435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81297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0394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image" Target="../media/image1.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5894231"/>
      </p:ext>
    </p:extLst>
  </p:cSld>
  <p:clrMap bg1="dk1" tx1="lt1" bg2="dk2" tx2="lt2" accent1="accent1" accent2="accent2" accent3="accent3" accent4="accent4" accent5="accent5" accent6="accent6" hlink="hlink" folHlink="folHlink"/>
  <p:sldLayoutIdLst>
    <p:sldLayoutId id="2147484375" r:id="rId1"/>
    <p:sldLayoutId id="2147484460" r:id="rId2"/>
    <p:sldLayoutId id="2147484461"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462" r:id="rId24"/>
    <p:sldLayoutId id="214748449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36519154"/>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 id="2147484491" r:id="rId26"/>
    <p:sldLayoutId id="2147484492"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805900084"/>
      </p:ext>
    </p:extLst>
  </p:cSld>
  <p:clrMap bg1="dk1" tx1="lt1" bg2="dk2" tx2="lt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 id="2147484507" r:id="rId14"/>
    <p:sldLayoutId id="2147484508" r:id="rId15"/>
    <p:sldLayoutId id="2147484509" r:id="rId16"/>
    <p:sldLayoutId id="2147484510" r:id="rId17"/>
    <p:sldLayoutId id="2147484511" r:id="rId18"/>
    <p:sldLayoutId id="2147484512" r:id="rId19"/>
    <p:sldLayoutId id="2147484513" r:id="rId20"/>
    <p:sldLayoutId id="2147484514" r:id="rId21"/>
    <p:sldLayoutId id="2147484515" r:id="rId22"/>
    <p:sldLayoutId id="2147484516" r:id="rId23"/>
    <p:sldLayoutId id="2147484517" r:id="rId24"/>
    <p:sldLayoutId id="2147484518" r:id="rId25"/>
    <p:sldLayoutId id="2147484519" r:id="rId26"/>
    <p:sldLayoutId id="2147484520" r:id="rId27"/>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diagramColors" Target="../diagrams/colors2.xml"/><Relationship Id="rId11" Type="http://schemas.microsoft.com/office/2007/relationships/hdphoto" Target="../media/hdphoto3.wdp"/><Relationship Id="rId5" Type="http://schemas.openxmlformats.org/officeDocument/2006/relationships/diagramQuickStyle" Target="../diagrams/quickStyle2.xml"/><Relationship Id="rId10" Type="http://schemas.openxmlformats.org/officeDocument/2006/relationships/image" Target="../media/image27.png"/><Relationship Id="rId4" Type="http://schemas.openxmlformats.org/officeDocument/2006/relationships/diagramLayout" Target="../diagrams/layout2.xml"/><Relationship Id="rId9"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8.xml"/><Relationship Id="rId5" Type="http://schemas.openxmlformats.org/officeDocument/2006/relationships/image" Target="../media/image32.emf"/><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8.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9.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8.png"/><Relationship Id="rId2" Type="http://schemas.openxmlformats.org/officeDocument/2006/relationships/tags" Target="../tags/tag2.xml"/><Relationship Id="rId16" Type="http://schemas.openxmlformats.org/officeDocument/2006/relationships/image" Target="../media/image4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6.png"/><Relationship Id="rId5" Type="http://schemas.openxmlformats.org/officeDocument/2006/relationships/tags" Target="../tags/tag5.xml"/><Relationship Id="rId15" Type="http://schemas.openxmlformats.org/officeDocument/2006/relationships/image" Target="../media/image40.png"/><Relationship Id="rId10" Type="http://schemas.openxmlformats.org/officeDocument/2006/relationships/notesSlide" Target="../notesSlides/notesSlide10.xml"/><Relationship Id="rId4" Type="http://schemas.openxmlformats.org/officeDocument/2006/relationships/tags" Target="../tags/tag4.xml"/><Relationship Id="rId9" Type="http://schemas.openxmlformats.org/officeDocument/2006/relationships/slideLayout" Target="../slideLayouts/slideLayout9.xml"/><Relationship Id="rId14" Type="http://schemas.microsoft.com/office/2007/relationships/hdphoto" Target="../media/hdphoto4.wdp"/></Relationships>
</file>

<file path=ppt/slides/_rels/slide22.xml.rels><?xml version="1.0" encoding="UTF-8" standalone="yes"?>
<Relationships xmlns="http://schemas.openxmlformats.org/package/2006/relationships"><Relationship Id="rId3" Type="http://schemas.openxmlformats.org/officeDocument/2006/relationships/image" Target="../media/image42.emf"/><Relationship Id="rId7"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45.emf"/><Relationship Id="rId5" Type="http://schemas.openxmlformats.org/officeDocument/2006/relationships/image" Target="../media/image44.emf"/><Relationship Id="rId4" Type="http://schemas.openxmlformats.org/officeDocument/2006/relationships/image" Target="../media/image43.emf"/></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25.xml"/><Relationship Id="rId5" Type="http://schemas.openxmlformats.org/officeDocument/2006/relationships/image" Target="../media/image48.png"/><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49.emf"/><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50.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49.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2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53.emf"/><Relationship Id="rId4" Type="http://schemas.openxmlformats.org/officeDocument/2006/relationships/image" Target="../media/image52.emf"/></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7.xml"/><Relationship Id="rId7" Type="http://schemas.openxmlformats.org/officeDocument/2006/relationships/image" Target="../media/image55.pn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49.emf"/><Relationship Id="rId11" Type="http://schemas.openxmlformats.org/officeDocument/2006/relationships/image" Target="../media/image59.emf"/><Relationship Id="rId5" Type="http://schemas.openxmlformats.org/officeDocument/2006/relationships/oleObject" Target="../embeddings/oleObject1.bin"/><Relationship Id="rId10" Type="http://schemas.openxmlformats.org/officeDocument/2006/relationships/image" Target="../media/image58.emf"/><Relationship Id="rId4" Type="http://schemas.openxmlformats.org/officeDocument/2006/relationships/notesSlide" Target="../notesSlides/notesSlide17.xml"/><Relationship Id="rId9" Type="http://schemas.openxmlformats.org/officeDocument/2006/relationships/image" Target="../media/image5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emf"/><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Cortana Analytics Suite</a:t>
            </a:r>
            <a:br>
              <a:rPr lang="en-US" sz="4800" dirty="0"/>
            </a:br>
            <a:r>
              <a:rPr lang="en-US" sz="2800" spc="0" dirty="0">
                <a:ln>
                  <a:noFill/>
                </a:ln>
                <a:cs typeface="+mn-cs"/>
              </a:rPr>
              <a:t>Transform Data Into Intelligent Action</a:t>
            </a:r>
            <a:endParaRPr lang="en-US" sz="4400" dirty="0"/>
          </a:p>
        </p:txBody>
      </p:sp>
      <p:sp>
        <p:nvSpPr>
          <p:cNvPr id="3" name="Text Placeholder 2"/>
          <p:cNvSpPr>
            <a:spLocks noGrp="1"/>
          </p:cNvSpPr>
          <p:nvPr>
            <p:ph type="body" sz="quarter" idx="14"/>
          </p:nvPr>
        </p:nvSpPr>
        <p:spPr/>
        <p:txBody>
          <a:bodyPr/>
          <a:lstStyle/>
          <a:p>
            <a:pPr lvl="0"/>
            <a:r>
              <a:rPr lang="en-US" dirty="0"/>
              <a:t>Bianca Furtuna</a:t>
            </a:r>
          </a:p>
          <a:p>
            <a:pPr lvl="0"/>
            <a:r>
              <a:rPr lang="en-US" sz="2000" dirty="0"/>
              <a:t>Technical Evangelist</a:t>
            </a:r>
          </a:p>
          <a:p>
            <a:pPr lvl="0"/>
            <a:endParaRPr lang="en-US" sz="2000" dirty="0"/>
          </a:p>
          <a:p>
            <a:pPr lvl="0"/>
            <a:r>
              <a:rPr lang="en-US" sz="2000" dirty="0"/>
              <a:t>Microsoft</a:t>
            </a:r>
            <a:endParaRPr lang="en-US" sz="2400" dirty="0"/>
          </a:p>
        </p:txBody>
      </p:sp>
    </p:spTree>
    <p:extLst>
      <p:ext uri="{BB962C8B-B14F-4D97-AF65-F5344CB8AC3E}">
        <p14:creationId xmlns:p14="http://schemas.microsoft.com/office/powerpoint/2010/main" val="350992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dirty="0">
                <a:solidFill>
                  <a:srgbClr val="0070C0"/>
                </a:solidFill>
              </a:rPr>
              <a:t>Row-Level Security</a:t>
            </a:r>
          </a:p>
        </p:txBody>
      </p:sp>
      <p:grpSp>
        <p:nvGrpSpPr>
          <p:cNvPr id="254" name="Group 2"/>
          <p:cNvGrpSpPr/>
          <p:nvPr/>
        </p:nvGrpSpPr>
        <p:grpSpPr>
          <a:xfrm>
            <a:off x="-1203" y="6642734"/>
            <a:ext cx="12436795" cy="361047"/>
            <a:chOff x="2577137" y="4571778"/>
            <a:chExt cx="9101124" cy="1390560"/>
          </a:xfrm>
        </p:grpSpPr>
        <p:sp>
          <p:nvSpPr>
            <p:cNvPr id="25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25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
        <p:nvSpPr>
          <p:cNvPr id="307" name="Content Placeholder 1"/>
          <p:cNvSpPr txBox="1">
            <a:spLocks/>
          </p:cNvSpPr>
          <p:nvPr/>
        </p:nvSpPr>
        <p:spPr>
          <a:xfrm>
            <a:off x="408484" y="1913424"/>
            <a:ext cx="6227756" cy="3037714"/>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Fine-grained access control over specific rows in a database table</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Help prevent unauthorized access when multiple users share the same tables, or to implement connection filtering in multi-tenant applications</a:t>
            </a:r>
          </a:p>
          <a:p>
            <a:pPr marL="0" marR="0" lvl="0" indent="0" algn="l" defTabSz="634092" rtl="0" eaLnBrk="1" fontAlgn="auto" latinLnBrk="0" hangingPunct="1">
              <a:lnSpc>
                <a:spcPct val="100000"/>
              </a:lnSpc>
              <a:spcBef>
                <a:spcPts val="612"/>
              </a:spcBef>
              <a:spcAft>
                <a:spcPts val="612"/>
              </a:spcAft>
              <a:buClrTx/>
              <a:buSzTx/>
              <a:buFont typeface="Arial"/>
              <a:buNone/>
              <a:tabLst/>
              <a:defRPr/>
            </a:pPr>
            <a:endParaRPr kumimoji="0" lang="en-US" sz="2040" b="0" i="0" u="none" strike="noStrike" kern="1200" cap="none" spc="0" normalizeH="0" baseline="0" noProof="0" dirty="0">
              <a:ln>
                <a:noFill/>
              </a:ln>
              <a:solidFill>
                <a:srgbClr val="000000"/>
              </a:solidFill>
              <a:effectLst/>
              <a:uLnTx/>
              <a:uFillTx/>
              <a:latin typeface="Segoe UI Light"/>
              <a:ea typeface="+mn-ea"/>
              <a:cs typeface="Segoe UI"/>
            </a:endParaRPr>
          </a:p>
        </p:txBody>
      </p:sp>
      <p:sp>
        <p:nvSpPr>
          <p:cNvPr id="308" name="Rectangle 307"/>
          <p:cNvSpPr/>
          <p:nvPr/>
        </p:nvSpPr>
        <p:spPr>
          <a:xfrm>
            <a:off x="556194" y="948218"/>
            <a:ext cx="11409783" cy="542399"/>
          </a:xfrm>
          <a:prstGeom prst="rect">
            <a:avLst/>
          </a:prstGeom>
        </p:spPr>
        <p:txBody>
          <a:bodyPr wrap="square">
            <a:spAutoFit/>
          </a:bodyPr>
          <a:lstStyle/>
          <a:p>
            <a:pPr marL="0" marR="0" lvl="0" indent="0" defTabSz="634092" eaLnBrk="1" fontAlgn="auto" latinLnBrk="0" hangingPunct="1">
              <a:lnSpc>
                <a:spcPct val="100000"/>
              </a:lnSpc>
              <a:spcBef>
                <a:spcPts val="0"/>
              </a:spcBef>
              <a:spcAft>
                <a:spcPts val="1224"/>
              </a:spcAft>
              <a:buClrTx/>
              <a:buSzTx/>
              <a:buFontTx/>
              <a:buNone/>
              <a:tabLst/>
              <a:defRPr/>
            </a:pPr>
            <a:r>
              <a:rPr kumimoji="0" lang="en-US" sz="2856" b="0" i="0" u="none" strike="noStrike" kern="0" cap="none" spc="0" normalizeH="0" baseline="0" noProof="0" dirty="0">
                <a:ln>
                  <a:noFill/>
                </a:ln>
                <a:solidFill>
                  <a:srgbClr val="000000"/>
                </a:solidFill>
                <a:effectLst/>
                <a:uLnTx/>
                <a:uFillTx/>
                <a:latin typeface="Segoe UI Light"/>
              </a:rPr>
              <a:t>Protect data privacy by ensuring the right access across rows</a:t>
            </a:r>
          </a:p>
        </p:txBody>
      </p:sp>
      <p:grpSp>
        <p:nvGrpSpPr>
          <p:cNvPr id="492" name="Group 491"/>
          <p:cNvGrpSpPr/>
          <p:nvPr/>
        </p:nvGrpSpPr>
        <p:grpSpPr>
          <a:xfrm>
            <a:off x="5346272" y="5112147"/>
            <a:ext cx="3794234" cy="1529525"/>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5"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2"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1"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2"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3" name="Rectangle 26"/>
              <p:cNvSpPr>
                <a:spLocks noChangeArrowheads="1"/>
              </p:cNvSpPr>
              <p:nvPr/>
            </p:nvSpPr>
            <p:spPr bwMode="auto">
              <a:xfrm>
                <a:off x="4767723" y="5044585"/>
                <a:ext cx="779544" cy="165684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4" name="Rectangle 27"/>
              <p:cNvSpPr>
                <a:spLocks noChangeArrowheads="1"/>
              </p:cNvSpPr>
              <p:nvPr/>
            </p:nvSpPr>
            <p:spPr bwMode="auto">
              <a:xfrm>
                <a:off x="5195373"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5" name="Rectangle 28"/>
              <p:cNvSpPr>
                <a:spLocks noChangeArrowheads="1"/>
              </p:cNvSpPr>
              <p:nvPr/>
            </p:nvSpPr>
            <p:spPr bwMode="auto">
              <a:xfrm>
                <a:off x="5019425"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6" name="Rectangle 29"/>
              <p:cNvSpPr>
                <a:spLocks noChangeArrowheads="1"/>
              </p:cNvSpPr>
              <p:nvPr/>
            </p:nvSpPr>
            <p:spPr bwMode="auto">
              <a:xfrm>
                <a:off x="4845921" y="5818021"/>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7" name="Rectangle 30"/>
              <p:cNvSpPr>
                <a:spLocks noChangeArrowheads="1"/>
              </p:cNvSpPr>
              <p:nvPr/>
            </p:nvSpPr>
            <p:spPr bwMode="auto">
              <a:xfrm>
                <a:off x="4845921" y="599396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8" name="Rectangle 31"/>
              <p:cNvSpPr>
                <a:spLocks noChangeArrowheads="1"/>
              </p:cNvSpPr>
              <p:nvPr/>
            </p:nvSpPr>
            <p:spPr bwMode="auto">
              <a:xfrm>
                <a:off x="4845921" y="6167473"/>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9" name="Rectangle 32"/>
              <p:cNvSpPr>
                <a:spLocks noChangeArrowheads="1"/>
              </p:cNvSpPr>
              <p:nvPr/>
            </p:nvSpPr>
            <p:spPr bwMode="auto">
              <a:xfrm>
                <a:off x="4845921" y="6343420"/>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0" name="Rectangle 33"/>
              <p:cNvSpPr>
                <a:spLocks noChangeArrowheads="1"/>
              </p:cNvSpPr>
              <p:nvPr/>
            </p:nvSpPr>
            <p:spPr bwMode="auto">
              <a:xfrm>
                <a:off x="4845921" y="5468570"/>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1" name="Rectangle 34"/>
              <p:cNvSpPr>
                <a:spLocks noChangeArrowheads="1"/>
              </p:cNvSpPr>
              <p:nvPr/>
            </p:nvSpPr>
            <p:spPr bwMode="auto">
              <a:xfrm>
                <a:off x="4845921" y="5644518"/>
                <a:ext cx="625591" cy="97749"/>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2" name="Rectangle 35"/>
              <p:cNvSpPr>
                <a:spLocks noChangeArrowheads="1"/>
              </p:cNvSpPr>
              <p:nvPr/>
            </p:nvSpPr>
            <p:spPr bwMode="auto">
              <a:xfrm>
                <a:off x="4845921" y="511911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3" name="Rectangle 36"/>
              <p:cNvSpPr>
                <a:spLocks noChangeArrowheads="1"/>
              </p:cNvSpPr>
              <p:nvPr/>
            </p:nvSpPr>
            <p:spPr bwMode="auto">
              <a:xfrm>
                <a:off x="4845921" y="5295066"/>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7"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0"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1"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2"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5"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6" name="Rectangle 49"/>
              <p:cNvSpPr>
                <a:spLocks noChangeArrowheads="1"/>
              </p:cNvSpPr>
              <p:nvPr/>
            </p:nvSpPr>
            <p:spPr bwMode="auto">
              <a:xfrm>
                <a:off x="7380053" y="3500156"/>
                <a:ext cx="1055684" cy="32012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7"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8"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9"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0"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1"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2"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3"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4"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5"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6"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7"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8" name="Rectangle 62"/>
              <p:cNvSpPr>
                <a:spLocks noChangeArrowheads="1"/>
              </p:cNvSpPr>
              <p:nvPr/>
            </p:nvSpPr>
            <p:spPr bwMode="auto">
              <a:xfrm>
                <a:off x="7483913" y="384105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9"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0" name="Rectangle 64"/>
              <p:cNvSpPr>
                <a:spLocks noChangeArrowheads="1"/>
              </p:cNvSpPr>
              <p:nvPr/>
            </p:nvSpPr>
            <p:spPr bwMode="auto">
              <a:xfrm>
                <a:off x="7483913" y="359790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1"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2"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3"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4"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5"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6"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7"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8"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9"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0"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1"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4" name="Rectangle 79"/>
              <p:cNvSpPr>
                <a:spLocks noChangeArrowheads="1"/>
              </p:cNvSpPr>
              <p:nvPr/>
            </p:nvSpPr>
            <p:spPr bwMode="auto">
              <a:xfrm>
                <a:off x="5318780" y="5044584"/>
                <a:ext cx="101414" cy="165419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7"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8" name="Rectangle 77"/>
              <p:cNvSpPr>
                <a:spLocks noChangeArrowheads="1"/>
              </p:cNvSpPr>
              <p:nvPr/>
            </p:nvSpPr>
            <p:spPr bwMode="auto">
              <a:xfrm>
                <a:off x="6155100" y="6634222"/>
                <a:ext cx="1142438"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grpSp>
        <p:nvGrpSpPr>
          <p:cNvPr id="493" name="Group 492"/>
          <p:cNvGrpSpPr/>
          <p:nvPr/>
        </p:nvGrpSpPr>
        <p:grpSpPr>
          <a:xfrm>
            <a:off x="8640919" y="5112147"/>
            <a:ext cx="3794234" cy="1529525"/>
            <a:chOff x="4092791" y="3635676"/>
            <a:chExt cx="8355063" cy="3368075"/>
          </a:xfrm>
        </p:grpSpPr>
        <p:grpSp>
          <p:nvGrpSpPr>
            <p:cNvPr id="494" name="Group 493"/>
            <p:cNvGrpSpPr/>
            <p:nvPr/>
          </p:nvGrpSpPr>
          <p:grpSpPr>
            <a:xfrm>
              <a:off x="4092791" y="3635676"/>
              <a:ext cx="8355063" cy="3368075"/>
              <a:chOff x="3324709" y="3101831"/>
              <a:chExt cx="8935445" cy="3602037"/>
            </a:xfrm>
          </p:grpSpPr>
          <p:sp>
            <p:nvSpPr>
              <p:cNvPr id="497"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498" name="Rectangle 6"/>
              <p:cNvSpPr>
                <a:spLocks noChangeArrowheads="1"/>
              </p:cNvSpPr>
              <p:nvPr/>
            </p:nvSpPr>
            <p:spPr bwMode="auto">
              <a:xfrm>
                <a:off x="6464880" y="5419697"/>
                <a:ext cx="531508"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499"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0" name="Rectangle 8"/>
              <p:cNvSpPr>
                <a:spLocks noChangeArrowheads="1"/>
              </p:cNvSpPr>
              <p:nvPr/>
            </p:nvSpPr>
            <p:spPr bwMode="auto">
              <a:xfrm>
                <a:off x="6996391" y="5682395"/>
                <a:ext cx="475302" cy="9518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1" name="Rectangle 9"/>
              <p:cNvSpPr>
                <a:spLocks noChangeArrowheads="1"/>
              </p:cNvSpPr>
              <p:nvPr/>
            </p:nvSpPr>
            <p:spPr bwMode="auto">
              <a:xfrm>
                <a:off x="7189445" y="5235195"/>
                <a:ext cx="476525" cy="13990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2" name="Rectangle 10"/>
              <p:cNvSpPr>
                <a:spLocks noChangeArrowheads="1"/>
              </p:cNvSpPr>
              <p:nvPr/>
            </p:nvSpPr>
            <p:spPr bwMode="auto">
              <a:xfrm>
                <a:off x="10228205"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3" name="Rectangle 11"/>
              <p:cNvSpPr>
                <a:spLocks noChangeArrowheads="1"/>
              </p:cNvSpPr>
              <p:nvPr/>
            </p:nvSpPr>
            <p:spPr bwMode="auto">
              <a:xfrm>
                <a:off x="10075472"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4" name="Rectangle 12"/>
              <p:cNvSpPr>
                <a:spLocks noChangeArrowheads="1"/>
              </p:cNvSpPr>
              <p:nvPr/>
            </p:nvSpPr>
            <p:spPr bwMode="auto">
              <a:xfrm>
                <a:off x="10759713" y="5682395"/>
                <a:ext cx="475302" cy="951828"/>
              </a:xfrm>
              <a:prstGeom prst="rect">
                <a:avLst/>
              </a:pr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5" name="Rectangle 13"/>
              <p:cNvSpPr>
                <a:spLocks noChangeArrowheads="1"/>
              </p:cNvSpPr>
              <p:nvPr/>
            </p:nvSpPr>
            <p:spPr bwMode="auto">
              <a:xfrm>
                <a:off x="10952766" y="5235195"/>
                <a:ext cx="476525" cy="1399028"/>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6"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7"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8"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09"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0"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1"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2"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3"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4"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5"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6"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7" name="Rectangle 26"/>
              <p:cNvSpPr>
                <a:spLocks noChangeArrowheads="1"/>
              </p:cNvSpPr>
              <p:nvPr/>
            </p:nvSpPr>
            <p:spPr bwMode="auto">
              <a:xfrm>
                <a:off x="4767723"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8" name="Rectangle 27"/>
              <p:cNvSpPr>
                <a:spLocks noChangeArrowheads="1"/>
              </p:cNvSpPr>
              <p:nvPr/>
            </p:nvSpPr>
            <p:spPr bwMode="auto">
              <a:xfrm>
                <a:off x="5195373"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19" name="Rectangle 28"/>
              <p:cNvSpPr>
                <a:spLocks noChangeArrowheads="1"/>
              </p:cNvSpPr>
              <p:nvPr/>
            </p:nvSpPr>
            <p:spPr bwMode="auto">
              <a:xfrm>
                <a:off x="5019425"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0" name="Rectangle 29"/>
              <p:cNvSpPr>
                <a:spLocks noChangeArrowheads="1"/>
              </p:cNvSpPr>
              <p:nvPr/>
            </p:nvSpPr>
            <p:spPr bwMode="auto">
              <a:xfrm>
                <a:off x="4845921" y="5818021"/>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1" name="Rectangle 30"/>
              <p:cNvSpPr>
                <a:spLocks noChangeArrowheads="1"/>
              </p:cNvSpPr>
              <p:nvPr/>
            </p:nvSpPr>
            <p:spPr bwMode="auto">
              <a:xfrm>
                <a:off x="4845921" y="599396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2" name="Rectangle 31"/>
              <p:cNvSpPr>
                <a:spLocks noChangeArrowheads="1"/>
              </p:cNvSpPr>
              <p:nvPr/>
            </p:nvSpPr>
            <p:spPr bwMode="auto">
              <a:xfrm>
                <a:off x="4845921" y="6167473"/>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3" name="Rectangle 32"/>
              <p:cNvSpPr>
                <a:spLocks noChangeArrowheads="1"/>
              </p:cNvSpPr>
              <p:nvPr/>
            </p:nvSpPr>
            <p:spPr bwMode="auto">
              <a:xfrm>
                <a:off x="4845921" y="6343420"/>
                <a:ext cx="625591"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4" name="Rectangle 33"/>
              <p:cNvSpPr>
                <a:spLocks noChangeArrowheads="1"/>
              </p:cNvSpPr>
              <p:nvPr/>
            </p:nvSpPr>
            <p:spPr bwMode="auto">
              <a:xfrm>
                <a:off x="4845921" y="5468570"/>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5" name="Rectangle 34"/>
              <p:cNvSpPr>
                <a:spLocks noChangeArrowheads="1"/>
              </p:cNvSpPr>
              <p:nvPr/>
            </p:nvSpPr>
            <p:spPr bwMode="auto">
              <a:xfrm>
                <a:off x="4845921" y="5644518"/>
                <a:ext cx="625591"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6" name="Rectangle 35"/>
              <p:cNvSpPr>
                <a:spLocks noChangeArrowheads="1"/>
              </p:cNvSpPr>
              <p:nvPr/>
            </p:nvSpPr>
            <p:spPr bwMode="auto">
              <a:xfrm>
                <a:off x="4845921" y="5119119"/>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7" name="Rectangle 36"/>
              <p:cNvSpPr>
                <a:spLocks noChangeArrowheads="1"/>
              </p:cNvSpPr>
              <p:nvPr/>
            </p:nvSpPr>
            <p:spPr bwMode="auto">
              <a:xfrm>
                <a:off x="4845921" y="5295066"/>
                <a:ext cx="625591"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8"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FFFFFF">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29"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0" name="Rectangle 39"/>
              <p:cNvSpPr>
                <a:spLocks noChangeArrowheads="1"/>
              </p:cNvSpPr>
              <p:nvPr/>
            </p:nvSpPr>
            <p:spPr bwMode="auto">
              <a:xfrm>
                <a:off x="8670336" y="5381818"/>
                <a:ext cx="1058129" cy="1319606"/>
              </a:xfrm>
              <a:prstGeom prst="rect">
                <a:avLst/>
              </a:prstGeom>
              <a:solidFill>
                <a:srgbClr val="FFFFFF">
                  <a:lumMod val="6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1" name="Rectangle 40"/>
              <p:cNvSpPr>
                <a:spLocks noChangeArrowheads="1"/>
              </p:cNvSpPr>
              <p:nvPr/>
            </p:nvSpPr>
            <p:spPr bwMode="auto">
              <a:xfrm>
                <a:off x="8617797" y="5341497"/>
                <a:ext cx="1163209" cy="40322"/>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2" name="Rectangle 41"/>
              <p:cNvSpPr>
                <a:spLocks noChangeArrowheads="1"/>
              </p:cNvSpPr>
              <p:nvPr/>
            </p:nvSpPr>
            <p:spPr bwMode="auto">
              <a:xfrm>
                <a:off x="9253163"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3" name="Rectangle 42"/>
              <p:cNvSpPr>
                <a:spLocks noChangeArrowheads="1"/>
              </p:cNvSpPr>
              <p:nvPr/>
            </p:nvSpPr>
            <p:spPr bwMode="auto">
              <a:xfrm>
                <a:off x="9013678" y="6435059"/>
                <a:ext cx="138070" cy="266365"/>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4" name="Rectangle 43"/>
              <p:cNvSpPr>
                <a:spLocks noChangeArrowheads="1"/>
              </p:cNvSpPr>
              <p:nvPr/>
            </p:nvSpPr>
            <p:spPr bwMode="auto">
              <a:xfrm>
                <a:off x="8776638" y="5500338"/>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5" name="Rectangle 44"/>
              <p:cNvSpPr>
                <a:spLocks noChangeArrowheads="1"/>
              </p:cNvSpPr>
              <p:nvPr/>
            </p:nvSpPr>
            <p:spPr bwMode="auto">
              <a:xfrm>
                <a:off x="8776638" y="5737379"/>
                <a:ext cx="854078" cy="138070"/>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6" name="Rectangle 45"/>
              <p:cNvSpPr>
                <a:spLocks noChangeArrowheads="1"/>
              </p:cNvSpPr>
              <p:nvPr/>
            </p:nvSpPr>
            <p:spPr bwMode="auto">
              <a:xfrm>
                <a:off x="8776638" y="5976863"/>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7" name="Rectangle 46"/>
              <p:cNvSpPr>
                <a:spLocks noChangeArrowheads="1"/>
              </p:cNvSpPr>
              <p:nvPr/>
            </p:nvSpPr>
            <p:spPr bwMode="auto">
              <a:xfrm>
                <a:off x="8776638" y="6212681"/>
                <a:ext cx="854078" cy="135627"/>
              </a:xfrm>
              <a:prstGeom prst="rect">
                <a:avLst/>
              </a:prstGeom>
              <a:solidFill>
                <a:srgbClr val="000000">
                  <a:lumMod val="50000"/>
                  <a:lumOff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8"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39" name="Rectangle 49"/>
              <p:cNvSpPr>
                <a:spLocks noChangeArrowheads="1"/>
              </p:cNvSpPr>
              <p:nvPr/>
            </p:nvSpPr>
            <p:spPr bwMode="auto">
              <a:xfrm>
                <a:off x="7380053" y="4689026"/>
                <a:ext cx="1055684" cy="2012399"/>
              </a:xfrm>
              <a:prstGeom prst="rect">
                <a:avLst/>
              </a:prstGeom>
              <a:solidFill>
                <a:srgbClr val="DD5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0" name="Rectangle 51"/>
              <p:cNvSpPr>
                <a:spLocks noChangeArrowheads="1"/>
              </p:cNvSpPr>
              <p:nvPr/>
            </p:nvSpPr>
            <p:spPr bwMode="auto">
              <a:xfrm>
                <a:off x="7959215" y="6435059"/>
                <a:ext cx="139292"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1" name="Rectangle 52"/>
              <p:cNvSpPr>
                <a:spLocks noChangeArrowheads="1"/>
              </p:cNvSpPr>
              <p:nvPr/>
            </p:nvSpPr>
            <p:spPr bwMode="auto">
              <a:xfrm>
                <a:off x="7723397" y="6435059"/>
                <a:ext cx="135626" cy="266365"/>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2" name="Rectangle 53"/>
              <p:cNvSpPr>
                <a:spLocks noChangeArrowheads="1"/>
              </p:cNvSpPr>
              <p:nvPr/>
            </p:nvSpPr>
            <p:spPr bwMode="auto">
              <a:xfrm>
                <a:off x="7483913" y="5500338"/>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3" name="Rectangle 54"/>
              <p:cNvSpPr>
                <a:spLocks noChangeArrowheads="1"/>
              </p:cNvSpPr>
              <p:nvPr/>
            </p:nvSpPr>
            <p:spPr bwMode="auto">
              <a:xfrm>
                <a:off x="7483913" y="573737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4" name="Rectangle 55"/>
              <p:cNvSpPr>
                <a:spLocks noChangeArrowheads="1"/>
              </p:cNvSpPr>
              <p:nvPr/>
            </p:nvSpPr>
            <p:spPr bwMode="auto">
              <a:xfrm>
                <a:off x="7483913" y="5976863"/>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5" name="Rectangle 56"/>
              <p:cNvSpPr>
                <a:spLocks noChangeArrowheads="1"/>
              </p:cNvSpPr>
              <p:nvPr/>
            </p:nvSpPr>
            <p:spPr bwMode="auto">
              <a:xfrm>
                <a:off x="7483913" y="6212681"/>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6" name="Rectangle 57"/>
              <p:cNvSpPr>
                <a:spLocks noChangeArrowheads="1"/>
              </p:cNvSpPr>
              <p:nvPr/>
            </p:nvSpPr>
            <p:spPr bwMode="auto">
              <a:xfrm>
                <a:off x="7483913" y="5027479"/>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7" name="Rectangle 58"/>
              <p:cNvSpPr>
                <a:spLocks noChangeArrowheads="1"/>
              </p:cNvSpPr>
              <p:nvPr/>
            </p:nvSpPr>
            <p:spPr bwMode="auto">
              <a:xfrm>
                <a:off x="7483913" y="5263298"/>
                <a:ext cx="854078" cy="135627"/>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8" name="Rectangle 61"/>
              <p:cNvSpPr>
                <a:spLocks noChangeArrowheads="1"/>
              </p:cNvSpPr>
              <p:nvPr/>
            </p:nvSpPr>
            <p:spPr bwMode="auto">
              <a:xfrm>
                <a:off x="7483913" y="4790439"/>
                <a:ext cx="854078" cy="138070"/>
              </a:xfrm>
              <a:prstGeom prst="rect">
                <a:avLst/>
              </a:prstGeom>
              <a:solidFill>
                <a:srgbClr val="8E2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49"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0"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1"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2"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3"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4"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5"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6"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7"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8"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59" name="Rectangle 75"/>
              <p:cNvSpPr>
                <a:spLocks noChangeArrowheads="1"/>
              </p:cNvSpPr>
              <p:nvPr/>
            </p:nvSpPr>
            <p:spPr bwMode="auto">
              <a:xfrm>
                <a:off x="5524053" y="4790439"/>
                <a:ext cx="854079" cy="138071"/>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0" name="Rectangle 76"/>
              <p:cNvSpPr>
                <a:spLocks noChangeArrowheads="1"/>
              </p:cNvSpPr>
              <p:nvPr/>
            </p:nvSpPr>
            <p:spPr bwMode="auto">
              <a:xfrm>
                <a:off x="8586028"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1"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2" name="Rectangle 79"/>
              <p:cNvSpPr>
                <a:spLocks noChangeArrowheads="1"/>
              </p:cNvSpPr>
              <p:nvPr/>
            </p:nvSpPr>
            <p:spPr bwMode="auto">
              <a:xfrm>
                <a:off x="5318780" y="5044584"/>
                <a:ext cx="101414" cy="1654198"/>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3"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4"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5"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6"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7"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8"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69" name="Freeform 90"/>
              <p:cNvSpPr>
                <a:spLocks/>
              </p:cNvSpPr>
              <p:nvPr/>
            </p:nvSpPr>
            <p:spPr bwMode="auto">
              <a:xfrm>
                <a:off x="11396912"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0" name="Oval 91"/>
              <p:cNvSpPr>
                <a:spLocks noChangeArrowheads="1"/>
              </p:cNvSpPr>
              <p:nvPr/>
            </p:nvSpPr>
            <p:spPr bwMode="auto">
              <a:xfrm>
                <a:off x="11295497"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1" name="Oval 92"/>
              <p:cNvSpPr>
                <a:spLocks noChangeArrowheads="1"/>
              </p:cNvSpPr>
              <p:nvPr/>
            </p:nvSpPr>
            <p:spPr bwMode="auto">
              <a:xfrm>
                <a:off x="11330931"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2" name="Freeform 93"/>
              <p:cNvSpPr>
                <a:spLocks/>
              </p:cNvSpPr>
              <p:nvPr/>
            </p:nvSpPr>
            <p:spPr bwMode="auto">
              <a:xfrm>
                <a:off x="11489161" y="6514883"/>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3" name="Oval 94"/>
              <p:cNvSpPr>
                <a:spLocks noChangeArrowheads="1"/>
              </p:cNvSpPr>
              <p:nvPr/>
            </p:nvSpPr>
            <p:spPr bwMode="auto">
              <a:xfrm>
                <a:off x="11506878" y="6403291"/>
                <a:ext cx="169839" cy="17350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4" name="Oval 95"/>
              <p:cNvSpPr>
                <a:spLocks noChangeArrowheads="1"/>
              </p:cNvSpPr>
              <p:nvPr/>
            </p:nvSpPr>
            <p:spPr bwMode="auto">
              <a:xfrm>
                <a:off x="11530094" y="6314096"/>
                <a:ext cx="123407" cy="12951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5"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6"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7"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8"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79"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0"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1" name="Rectangle 76"/>
              <p:cNvSpPr>
                <a:spLocks noChangeArrowheads="1"/>
              </p:cNvSpPr>
              <p:nvPr/>
            </p:nvSpPr>
            <p:spPr bwMode="auto">
              <a:xfrm>
                <a:off x="8294494"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2" name="Freeform 90"/>
              <p:cNvSpPr>
                <a:spLocks/>
              </p:cNvSpPr>
              <p:nvPr/>
            </p:nvSpPr>
            <p:spPr bwMode="auto">
              <a:xfrm>
                <a:off x="10436830" y="6464383"/>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3" name="Oval 91"/>
              <p:cNvSpPr>
                <a:spLocks noChangeArrowheads="1"/>
              </p:cNvSpPr>
              <p:nvPr/>
            </p:nvSpPr>
            <p:spPr bwMode="auto">
              <a:xfrm>
                <a:off x="10335415" y="6299434"/>
                <a:ext cx="248038"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4" name="Oval 92"/>
              <p:cNvSpPr>
                <a:spLocks noChangeArrowheads="1"/>
              </p:cNvSpPr>
              <p:nvPr/>
            </p:nvSpPr>
            <p:spPr bwMode="auto">
              <a:xfrm>
                <a:off x="10370849" y="6169916"/>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5" name="Rectangle 47"/>
              <p:cNvSpPr>
                <a:spLocks noChangeArrowheads="1"/>
              </p:cNvSpPr>
              <p:nvPr/>
            </p:nvSpPr>
            <p:spPr bwMode="auto">
              <a:xfrm>
                <a:off x="9728465" y="6634222"/>
                <a:ext cx="2531689"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495" name="Freeform 494"/>
            <p:cNvSpPr>
              <a:spLocks noEditPoints="1"/>
            </p:cNvSpPr>
            <p:nvPr/>
          </p:nvSpPr>
          <p:spPr bwMode="auto">
            <a:xfrm flipH="1">
              <a:off x="8903396" y="6638710"/>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496" name="Freeform 495"/>
            <p:cNvSpPr>
              <a:spLocks noEditPoints="1"/>
            </p:cNvSpPr>
            <p:nvPr/>
          </p:nvSpPr>
          <p:spPr bwMode="auto">
            <a:xfrm>
              <a:off x="7183039"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246" name="Rectangle 20"/>
          <p:cNvSpPr>
            <a:spLocks noChangeArrowheads="1"/>
          </p:cNvSpPr>
          <p:nvPr/>
        </p:nvSpPr>
        <p:spPr bwMode="auto">
          <a:xfrm flipH="1">
            <a:off x="9723204" y="5910097"/>
            <a:ext cx="1291052" cy="205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sp>
        <p:nvSpPr>
          <p:cNvPr id="247" name="Freeform 6"/>
          <p:cNvSpPr>
            <a:spLocks/>
          </p:cNvSpPr>
          <p:nvPr/>
        </p:nvSpPr>
        <p:spPr bwMode="auto">
          <a:xfrm flipH="1">
            <a:off x="7196002" y="1856383"/>
            <a:ext cx="3807003" cy="23800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248" name="TextBox 247"/>
          <p:cNvSpPr txBox="1"/>
          <p:nvPr/>
        </p:nvSpPr>
        <p:spPr>
          <a:xfrm>
            <a:off x="8478776" y="3652684"/>
            <a:ext cx="1328888" cy="318286"/>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ED7D31">
                    <a:lumMod val="50000"/>
                  </a:srgbClr>
                </a:solidFill>
                <a:effectLst/>
                <a:uLnTx/>
                <a:uFillTx/>
                <a:latin typeface="Segoe UI Light"/>
              </a:rPr>
              <a:t>SQL Database</a:t>
            </a:r>
          </a:p>
        </p:txBody>
      </p:sp>
      <p:sp>
        <p:nvSpPr>
          <p:cNvPr id="249" name="Freeform 248"/>
          <p:cNvSpPr>
            <a:spLocks noEditPoints="1"/>
          </p:cNvSpPr>
          <p:nvPr/>
        </p:nvSpPr>
        <p:spPr bwMode="auto">
          <a:xfrm flipH="1">
            <a:off x="8432705" y="2293160"/>
            <a:ext cx="1387255" cy="1403655"/>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250" name="Rectangle 249"/>
          <p:cNvSpPr/>
          <p:nvPr/>
        </p:nvSpPr>
        <p:spPr bwMode="auto">
          <a:xfrm>
            <a:off x="8543888" y="2724367"/>
            <a:ext cx="1163533" cy="792211"/>
          </a:xfrm>
          <a:prstGeom prst="rect">
            <a:avLst/>
          </a:prstGeom>
          <a:solidFill>
            <a:srgbClr val="C9F1FF"/>
          </a:solidFill>
          <a:ln w="6350" cap="flat" cmpd="sng" algn="ctr">
            <a:solidFill>
              <a:srgbClr val="C9F1FF"/>
            </a:solid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noFill/>
              <a:effectLst/>
              <a:uLnTx/>
              <a:uFillTx/>
              <a:latin typeface="Calibri" panose="020F0502020204030204"/>
              <a:ea typeface="Segoe UI" pitchFamily="34" charset="0"/>
              <a:cs typeface="Segoe UI" pitchFamily="34" charset="0"/>
            </a:endParaRPr>
          </a:p>
        </p:txBody>
      </p:sp>
      <p:cxnSp>
        <p:nvCxnSpPr>
          <p:cNvPr id="251" name="Straight Connector 250"/>
          <p:cNvCxnSpPr/>
          <p:nvPr/>
        </p:nvCxnSpPr>
        <p:spPr>
          <a:xfrm flipH="1" flipV="1">
            <a:off x="9243185" y="3354465"/>
            <a:ext cx="747312" cy="18151"/>
          </a:xfrm>
          <a:prstGeom prst="line">
            <a:avLst/>
          </a:prstGeom>
          <a:noFill/>
          <a:ln w="28575" cap="flat" cmpd="sng" algn="ctr">
            <a:solidFill>
              <a:srgbClr val="00B0F0"/>
            </a:solidFill>
            <a:prstDash val="sysDash"/>
            <a:miter lim="800000"/>
            <a:headEnd type="none"/>
            <a:tailEnd type="none"/>
          </a:ln>
          <a:effectLst/>
        </p:spPr>
      </p:cxnSp>
      <p:cxnSp>
        <p:nvCxnSpPr>
          <p:cNvPr id="252" name="Straight Connector 251"/>
          <p:cNvCxnSpPr/>
          <p:nvPr/>
        </p:nvCxnSpPr>
        <p:spPr>
          <a:xfrm flipH="1" flipV="1">
            <a:off x="9990497" y="3372881"/>
            <a:ext cx="21986" cy="1146399"/>
          </a:xfrm>
          <a:prstGeom prst="line">
            <a:avLst/>
          </a:prstGeom>
          <a:noFill/>
          <a:ln w="28575" cap="flat" cmpd="sng" algn="ctr">
            <a:solidFill>
              <a:srgbClr val="00B0F0"/>
            </a:solidFill>
            <a:prstDash val="sysDash"/>
            <a:miter lim="800000"/>
            <a:headEnd type="none"/>
            <a:tailEnd type="none"/>
          </a:ln>
          <a:effectLst/>
        </p:spPr>
      </p:cxnSp>
      <p:cxnSp>
        <p:nvCxnSpPr>
          <p:cNvPr id="253" name="Straight Connector 252"/>
          <p:cNvCxnSpPr/>
          <p:nvPr/>
        </p:nvCxnSpPr>
        <p:spPr>
          <a:xfrm flipH="1" flipV="1">
            <a:off x="9301012" y="3125512"/>
            <a:ext cx="1568526" cy="26982"/>
          </a:xfrm>
          <a:prstGeom prst="line">
            <a:avLst/>
          </a:prstGeom>
          <a:noFill/>
          <a:ln w="28575" cap="flat" cmpd="sng" algn="ctr">
            <a:solidFill>
              <a:srgbClr val="00B0F0"/>
            </a:solidFill>
            <a:prstDash val="sysDash"/>
            <a:miter lim="800000"/>
            <a:headEnd type="none"/>
            <a:tailEnd type="none"/>
          </a:ln>
          <a:effectLst/>
        </p:spPr>
      </p:cxnSp>
      <p:cxnSp>
        <p:nvCxnSpPr>
          <p:cNvPr id="257" name="Straight Connector 256"/>
          <p:cNvCxnSpPr/>
          <p:nvPr/>
        </p:nvCxnSpPr>
        <p:spPr>
          <a:xfrm flipH="1" flipV="1">
            <a:off x="10854249" y="3144642"/>
            <a:ext cx="26284" cy="1380187"/>
          </a:xfrm>
          <a:prstGeom prst="line">
            <a:avLst/>
          </a:prstGeom>
          <a:noFill/>
          <a:ln w="28575" cap="flat" cmpd="sng" algn="ctr">
            <a:solidFill>
              <a:srgbClr val="00B0F0"/>
            </a:solidFill>
            <a:prstDash val="sysDash"/>
            <a:miter lim="800000"/>
            <a:headEnd type="none"/>
            <a:tailEnd type="none"/>
          </a:ln>
          <a:effectLst/>
        </p:spPr>
      </p:cxnSp>
      <p:cxnSp>
        <p:nvCxnSpPr>
          <p:cNvPr id="258" name="Straight Connector 257"/>
          <p:cNvCxnSpPr/>
          <p:nvPr/>
        </p:nvCxnSpPr>
        <p:spPr>
          <a:xfrm flipH="1" flipV="1">
            <a:off x="9224421" y="2899771"/>
            <a:ext cx="2539680" cy="45176"/>
          </a:xfrm>
          <a:prstGeom prst="line">
            <a:avLst/>
          </a:prstGeom>
          <a:noFill/>
          <a:ln w="28575" cap="flat" cmpd="sng" algn="ctr">
            <a:solidFill>
              <a:srgbClr val="00B0F0"/>
            </a:solidFill>
            <a:prstDash val="sysDash"/>
            <a:miter lim="800000"/>
            <a:headEnd type="none"/>
            <a:tailEnd type="none"/>
          </a:ln>
          <a:effectLst/>
        </p:spPr>
      </p:cxnSp>
      <p:cxnSp>
        <p:nvCxnSpPr>
          <p:cNvPr id="259" name="Straight Connector 258"/>
          <p:cNvCxnSpPr/>
          <p:nvPr/>
        </p:nvCxnSpPr>
        <p:spPr>
          <a:xfrm flipV="1">
            <a:off x="11744285" y="2937095"/>
            <a:ext cx="4526" cy="1571358"/>
          </a:xfrm>
          <a:prstGeom prst="line">
            <a:avLst/>
          </a:prstGeom>
          <a:noFill/>
          <a:ln w="28575" cap="flat" cmpd="sng" algn="ctr">
            <a:solidFill>
              <a:srgbClr val="00B0F0"/>
            </a:solidFill>
            <a:prstDash val="sysDash"/>
            <a:miter lim="800000"/>
            <a:headEnd type="none"/>
            <a:tailEnd type="none"/>
          </a:ln>
          <a:effectLst/>
        </p:spPr>
      </p:cxnSp>
      <p:grpSp>
        <p:nvGrpSpPr>
          <p:cNvPr id="260" name="Group 259"/>
          <p:cNvGrpSpPr/>
          <p:nvPr/>
        </p:nvGrpSpPr>
        <p:grpSpPr>
          <a:xfrm>
            <a:off x="10593102" y="4032980"/>
            <a:ext cx="580440" cy="652554"/>
            <a:chOff x="5694218" y="4030957"/>
            <a:chExt cx="764771" cy="823540"/>
          </a:xfrm>
        </p:grpSpPr>
        <p:sp>
          <p:nvSpPr>
            <p:cNvPr id="261" name="Flowchart: Process 260"/>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62" name="U-Turn Arrow 261"/>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63" name="Oval 262"/>
            <p:cNvSpPr/>
            <p:nvPr/>
          </p:nvSpPr>
          <p:spPr bwMode="auto">
            <a:xfrm>
              <a:off x="6023884" y="4492254"/>
              <a:ext cx="104350" cy="95067"/>
            </a:xfrm>
            <a:prstGeom prst="ellipse">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64" name="Rectangle 263"/>
            <p:cNvSpPr/>
            <p:nvPr/>
          </p:nvSpPr>
          <p:spPr bwMode="auto">
            <a:xfrm>
              <a:off x="6051300" y="4556679"/>
              <a:ext cx="50291" cy="223338"/>
            </a:xfrm>
            <a:prstGeom prst="rect">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aphicFrame>
        <p:nvGraphicFramePr>
          <p:cNvPr id="265" name="Diagram 264"/>
          <p:cNvGraphicFramePr/>
          <p:nvPr>
            <p:extLst/>
          </p:nvPr>
        </p:nvGraphicFramePr>
        <p:xfrm>
          <a:off x="8432704" y="2799656"/>
          <a:ext cx="1304516" cy="6792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71" name="Group 270"/>
          <p:cNvGrpSpPr/>
          <p:nvPr/>
        </p:nvGrpSpPr>
        <p:grpSpPr>
          <a:xfrm>
            <a:off x="9726816" y="3954987"/>
            <a:ext cx="580440" cy="652554"/>
            <a:chOff x="5694218" y="4030957"/>
            <a:chExt cx="764771" cy="823540"/>
          </a:xfrm>
        </p:grpSpPr>
        <p:sp>
          <p:nvSpPr>
            <p:cNvPr id="272" name="Flowchart: Process 271"/>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73" name="U-Turn Arrow 272"/>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74" name="Oval 273"/>
            <p:cNvSpPr/>
            <p:nvPr/>
          </p:nvSpPr>
          <p:spPr bwMode="auto">
            <a:xfrm>
              <a:off x="6023884" y="4492254"/>
              <a:ext cx="104350" cy="95067"/>
            </a:xfrm>
            <a:prstGeom prst="ellipse">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75" name="Rectangle 274"/>
            <p:cNvSpPr/>
            <p:nvPr/>
          </p:nvSpPr>
          <p:spPr bwMode="auto">
            <a:xfrm>
              <a:off x="6051300" y="4556679"/>
              <a:ext cx="50291" cy="223338"/>
            </a:xfrm>
            <a:prstGeom prst="rect">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76" name="Freeform 275"/>
          <p:cNvSpPr>
            <a:spLocks/>
          </p:cNvSpPr>
          <p:nvPr/>
        </p:nvSpPr>
        <p:spPr bwMode="auto">
          <a:xfrm>
            <a:off x="7606608" y="5245481"/>
            <a:ext cx="4828984" cy="141637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77" name="Freeform 29"/>
          <p:cNvSpPr>
            <a:spLocks/>
          </p:cNvSpPr>
          <p:nvPr/>
        </p:nvSpPr>
        <p:spPr bwMode="auto">
          <a:xfrm>
            <a:off x="7384624" y="6032506"/>
            <a:ext cx="3704177" cy="6233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278" name="Group 37"/>
          <p:cNvGrpSpPr/>
          <p:nvPr/>
        </p:nvGrpSpPr>
        <p:grpSpPr>
          <a:xfrm>
            <a:off x="9707421" y="4490423"/>
            <a:ext cx="636233" cy="1820754"/>
            <a:chOff x="5893176" y="3792885"/>
            <a:chExt cx="585200" cy="1674708"/>
          </a:xfrm>
        </p:grpSpPr>
        <p:sp>
          <p:nvSpPr>
            <p:cNvPr id="2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2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09"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0"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1"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2"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grpSp>
        <p:nvGrpSpPr>
          <p:cNvPr id="313" name="Group 37"/>
          <p:cNvGrpSpPr/>
          <p:nvPr/>
        </p:nvGrpSpPr>
        <p:grpSpPr>
          <a:xfrm>
            <a:off x="10595984" y="4587382"/>
            <a:ext cx="636233" cy="1820754"/>
            <a:chOff x="5893176" y="3792885"/>
            <a:chExt cx="585200" cy="1674708"/>
          </a:xfrm>
        </p:grpSpPr>
        <p:sp>
          <p:nvSpPr>
            <p:cNvPr id="314"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5"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6"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7"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8"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19"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0"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1"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2"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3"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4"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5"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6"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7"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8"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29"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0"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1"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2"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3"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4"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5"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6"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7"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8"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39"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0"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1"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2"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3"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4"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5"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grpSp>
        <p:nvGrpSpPr>
          <p:cNvPr id="346" name="Group 37"/>
          <p:cNvGrpSpPr/>
          <p:nvPr/>
        </p:nvGrpSpPr>
        <p:grpSpPr>
          <a:xfrm>
            <a:off x="11502237" y="4711409"/>
            <a:ext cx="636233" cy="1820754"/>
            <a:chOff x="5893176" y="3792885"/>
            <a:chExt cx="585200" cy="1674708"/>
          </a:xfrm>
        </p:grpSpPr>
        <p:sp>
          <p:nvSpPr>
            <p:cNvPr id="34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4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5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6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37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sp>
        <p:nvSpPr>
          <p:cNvPr id="2" name="Rectangle 1"/>
          <p:cNvSpPr/>
          <p:nvPr/>
        </p:nvSpPr>
        <p:spPr bwMode="auto">
          <a:xfrm>
            <a:off x="11502237" y="4191898"/>
            <a:ext cx="490572" cy="50877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379" name="Freeform 6"/>
          <p:cNvSpPr>
            <a:spLocks/>
          </p:cNvSpPr>
          <p:nvPr/>
        </p:nvSpPr>
        <p:spPr bwMode="auto">
          <a:xfrm>
            <a:off x="11592042" y="4313936"/>
            <a:ext cx="341679" cy="29583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454973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dirty="0">
                <a:solidFill>
                  <a:srgbClr val="0070C0"/>
                </a:solidFill>
              </a:rPr>
              <a:t>Transparent Data Encryption</a:t>
            </a:r>
          </a:p>
        </p:txBody>
      </p:sp>
      <p:grpSp>
        <p:nvGrpSpPr>
          <p:cNvPr id="254" name="Group 2"/>
          <p:cNvGrpSpPr/>
          <p:nvPr/>
        </p:nvGrpSpPr>
        <p:grpSpPr>
          <a:xfrm>
            <a:off x="-1203" y="6642734"/>
            <a:ext cx="12436795" cy="361047"/>
            <a:chOff x="2577137" y="4571778"/>
            <a:chExt cx="9101124" cy="1390560"/>
          </a:xfrm>
        </p:grpSpPr>
        <p:sp>
          <p:nvSpPr>
            <p:cNvPr id="25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25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
        <p:nvSpPr>
          <p:cNvPr id="307" name="Content Placeholder 1"/>
          <p:cNvSpPr txBox="1">
            <a:spLocks/>
          </p:cNvSpPr>
          <p:nvPr/>
        </p:nvSpPr>
        <p:spPr>
          <a:xfrm>
            <a:off x="425603" y="1851117"/>
            <a:ext cx="7292077" cy="3037714"/>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Encrypted-at-rest</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SQL Database service manages your keys</a:t>
            </a:r>
          </a:p>
          <a:p>
            <a:pPr marL="0" marR="0" lvl="0" indent="0" algn="l" defTabSz="634092"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000000"/>
                </a:solidFill>
                <a:effectLst/>
                <a:uLnTx/>
                <a:uFillTx/>
                <a:latin typeface="Segoe UI Light"/>
                <a:ea typeface="+mn-ea"/>
                <a:cs typeface="Segoe UI"/>
              </a:rPr>
              <a:t>Predictable encryption performance</a:t>
            </a:r>
          </a:p>
        </p:txBody>
      </p:sp>
      <p:sp>
        <p:nvSpPr>
          <p:cNvPr id="308" name="Rectangle 307"/>
          <p:cNvSpPr/>
          <p:nvPr/>
        </p:nvSpPr>
        <p:spPr>
          <a:xfrm>
            <a:off x="556194" y="948218"/>
            <a:ext cx="11409783" cy="531812"/>
          </a:xfrm>
          <a:prstGeom prst="rect">
            <a:avLst/>
          </a:prstGeom>
        </p:spPr>
        <p:txBody>
          <a:bodyPr wrap="square">
            <a:spAutoFit/>
          </a:bodyPr>
          <a:lstStyle/>
          <a:p>
            <a:pPr marL="0" marR="0" lvl="0" indent="0" defTabSz="634092" eaLnBrk="1" fontAlgn="auto" latinLnBrk="0" hangingPunct="1">
              <a:lnSpc>
                <a:spcPct val="100000"/>
              </a:lnSpc>
              <a:spcBef>
                <a:spcPts val="612"/>
              </a:spcBef>
              <a:spcAft>
                <a:spcPts val="612"/>
              </a:spcAft>
              <a:buClrTx/>
              <a:buSzTx/>
              <a:buFontTx/>
              <a:buNone/>
              <a:tabLst/>
              <a:defRPr/>
            </a:pPr>
            <a:r>
              <a:rPr kumimoji="0" lang="en-US" sz="2856" b="0" i="0" u="none" strike="noStrike" kern="0" cap="none" spc="0" normalizeH="0" baseline="0" noProof="0" dirty="0">
                <a:ln>
                  <a:noFill/>
                </a:ln>
                <a:solidFill>
                  <a:srgbClr val="000000"/>
                </a:solidFill>
                <a:effectLst/>
                <a:uLnTx/>
                <a:uFillTx/>
                <a:latin typeface="Segoe UI Light"/>
              </a:rPr>
              <a:t>Protect sensitive data stored in a SQL database from unauthorized access</a:t>
            </a:r>
          </a:p>
        </p:txBody>
      </p:sp>
      <p:sp>
        <p:nvSpPr>
          <p:cNvPr id="252" name="Rectangle 20"/>
          <p:cNvSpPr>
            <a:spLocks noChangeArrowheads="1"/>
          </p:cNvSpPr>
          <p:nvPr/>
        </p:nvSpPr>
        <p:spPr bwMode="auto">
          <a:xfrm flipH="1">
            <a:off x="9723204" y="5910097"/>
            <a:ext cx="1291052" cy="205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sp>
        <p:nvSpPr>
          <p:cNvPr id="421" name="Freeform 6"/>
          <p:cNvSpPr>
            <a:spLocks/>
          </p:cNvSpPr>
          <p:nvPr/>
        </p:nvSpPr>
        <p:spPr bwMode="auto">
          <a:xfrm flipH="1">
            <a:off x="7196002" y="1606810"/>
            <a:ext cx="3807003" cy="23800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422" name="TextBox 421"/>
          <p:cNvSpPr txBox="1"/>
          <p:nvPr/>
        </p:nvSpPr>
        <p:spPr>
          <a:xfrm>
            <a:off x="8478776" y="3652684"/>
            <a:ext cx="1328888" cy="318286"/>
          </a:xfrm>
          <a:prstGeom prst="rect">
            <a:avLst/>
          </a:prstGeom>
          <a:noFill/>
        </p:spPr>
        <p:txBody>
          <a:bodyPr wrap="square" rtlCol="0">
            <a:spAutoFit/>
          </a:bodyPr>
          <a:lstStyle/>
          <a:p>
            <a:pPr marL="0" marR="0" lvl="0" indent="0" defTabSz="951304"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ED7D31">
                    <a:lumMod val="50000"/>
                  </a:srgbClr>
                </a:solidFill>
                <a:effectLst/>
                <a:uLnTx/>
                <a:uFillTx/>
                <a:latin typeface="Segoe UI Light"/>
              </a:rPr>
              <a:t>SQL Database</a:t>
            </a:r>
          </a:p>
        </p:txBody>
      </p:sp>
      <p:sp>
        <p:nvSpPr>
          <p:cNvPr id="456" name="Freeform 455"/>
          <p:cNvSpPr>
            <a:spLocks noEditPoints="1"/>
          </p:cNvSpPr>
          <p:nvPr/>
        </p:nvSpPr>
        <p:spPr bwMode="auto">
          <a:xfrm flipH="1">
            <a:off x="8432705" y="2293160"/>
            <a:ext cx="1387255" cy="1403655"/>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sp>
        <p:nvSpPr>
          <p:cNvPr id="711" name="Rectangle 710"/>
          <p:cNvSpPr/>
          <p:nvPr/>
        </p:nvSpPr>
        <p:spPr bwMode="auto">
          <a:xfrm>
            <a:off x="8543888" y="2724367"/>
            <a:ext cx="1163533" cy="792211"/>
          </a:xfrm>
          <a:prstGeom prst="rect">
            <a:avLst/>
          </a:prstGeom>
          <a:solidFill>
            <a:srgbClr val="C9F1FF"/>
          </a:solidFill>
          <a:ln w="6350" cap="flat" cmpd="sng" algn="ctr">
            <a:solidFill>
              <a:srgbClr val="C9F1FF"/>
            </a:solid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noFill/>
              <a:effectLst/>
              <a:uLnTx/>
              <a:uFillTx/>
              <a:latin typeface="Calibri" panose="020F0502020204030204"/>
              <a:ea typeface="Segoe UI" pitchFamily="34" charset="0"/>
              <a:cs typeface="Segoe UI" pitchFamily="34" charset="0"/>
            </a:endParaRPr>
          </a:p>
        </p:txBody>
      </p:sp>
      <p:cxnSp>
        <p:nvCxnSpPr>
          <p:cNvPr id="717" name="Straight Connector 716"/>
          <p:cNvCxnSpPr>
            <a:stCxn id="686" idx="1"/>
          </p:cNvCxnSpPr>
          <p:nvPr/>
        </p:nvCxnSpPr>
        <p:spPr>
          <a:xfrm flipH="1" flipV="1">
            <a:off x="9958507" y="3665367"/>
            <a:ext cx="239702" cy="1631529"/>
          </a:xfrm>
          <a:prstGeom prst="line">
            <a:avLst/>
          </a:prstGeom>
          <a:noFill/>
          <a:ln w="28575" cap="flat" cmpd="sng" algn="ctr">
            <a:solidFill>
              <a:srgbClr val="00B0F0"/>
            </a:solidFill>
            <a:prstDash val="sysDash"/>
            <a:miter lim="800000"/>
            <a:headEnd type="none"/>
            <a:tailEnd type="none"/>
          </a:ln>
          <a:effectLst/>
        </p:spPr>
      </p:cxnSp>
      <p:graphicFrame>
        <p:nvGraphicFramePr>
          <p:cNvPr id="723" name="Diagram 722"/>
          <p:cNvGraphicFramePr/>
          <p:nvPr>
            <p:extLst/>
          </p:nvPr>
        </p:nvGraphicFramePr>
        <p:xfrm>
          <a:off x="8432704" y="2799656"/>
          <a:ext cx="1304516" cy="6792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29" name="Group 728"/>
          <p:cNvGrpSpPr/>
          <p:nvPr/>
        </p:nvGrpSpPr>
        <p:grpSpPr>
          <a:xfrm>
            <a:off x="9245267" y="2646942"/>
            <a:ext cx="840155" cy="944537"/>
            <a:chOff x="5694218" y="4030957"/>
            <a:chExt cx="764771" cy="823540"/>
          </a:xfrm>
        </p:grpSpPr>
        <p:sp>
          <p:nvSpPr>
            <p:cNvPr id="730" name="Flowchart: Process 729"/>
            <p:cNvSpPr/>
            <p:nvPr/>
          </p:nvSpPr>
          <p:spPr bwMode="auto">
            <a:xfrm>
              <a:off x="5694218" y="4404350"/>
              <a:ext cx="764771" cy="450147"/>
            </a:xfrm>
            <a:prstGeom prst="flowChartProcess">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31" name="U-Turn Arrow 730"/>
            <p:cNvSpPr/>
            <p:nvPr/>
          </p:nvSpPr>
          <p:spPr bwMode="auto">
            <a:xfrm>
              <a:off x="5885412" y="4030957"/>
              <a:ext cx="432262" cy="733355"/>
            </a:xfrm>
            <a:prstGeom prst="uturnArrow">
              <a:avLst/>
            </a:prstGeom>
            <a:solidFill>
              <a:srgbClr val="00BCF2"/>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32" name="Oval 731"/>
            <p:cNvSpPr/>
            <p:nvPr/>
          </p:nvSpPr>
          <p:spPr bwMode="auto">
            <a:xfrm>
              <a:off x="6023884" y="4492254"/>
              <a:ext cx="104350" cy="95067"/>
            </a:xfrm>
            <a:prstGeom prst="ellipse">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33" name="Rectangle 732"/>
            <p:cNvSpPr/>
            <p:nvPr/>
          </p:nvSpPr>
          <p:spPr bwMode="auto">
            <a:xfrm>
              <a:off x="6051300" y="4556679"/>
              <a:ext cx="50291" cy="223338"/>
            </a:xfrm>
            <a:prstGeom prst="rect">
              <a:avLst/>
            </a:prstGeom>
            <a:solidFill>
              <a:srgbClr val="C9F1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34" name="Freeform 733"/>
          <p:cNvSpPr>
            <a:spLocks/>
          </p:cNvSpPr>
          <p:nvPr/>
        </p:nvSpPr>
        <p:spPr bwMode="auto">
          <a:xfrm>
            <a:off x="7606608" y="5245481"/>
            <a:ext cx="4828984" cy="141637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36" name="Freeform 29"/>
          <p:cNvSpPr>
            <a:spLocks/>
          </p:cNvSpPr>
          <p:nvPr/>
        </p:nvSpPr>
        <p:spPr bwMode="auto">
          <a:xfrm>
            <a:off x="7384624" y="6032506"/>
            <a:ext cx="3704177" cy="6233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490" name="Group 37"/>
          <p:cNvGrpSpPr/>
          <p:nvPr/>
        </p:nvGrpSpPr>
        <p:grpSpPr>
          <a:xfrm>
            <a:off x="10058694" y="4833806"/>
            <a:ext cx="636233" cy="1820754"/>
            <a:chOff x="5893176" y="3792885"/>
            <a:chExt cx="585200" cy="1674708"/>
          </a:xfrm>
        </p:grpSpPr>
        <p:sp>
          <p:nvSpPr>
            <p:cNvPr id="491"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6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sp>
          <p:nvSpPr>
            <p:cNvPr id="7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Calibri" panose="020F0502020204030204"/>
              </a:endParaRPr>
            </a:p>
          </p:txBody>
        </p:sp>
      </p:grpSp>
      <p:grpSp>
        <p:nvGrpSpPr>
          <p:cNvPr id="492" name="Group 491"/>
          <p:cNvGrpSpPr/>
          <p:nvPr/>
        </p:nvGrpSpPr>
        <p:grpSpPr>
          <a:xfrm>
            <a:off x="4505616" y="5112147"/>
            <a:ext cx="3794234" cy="1529525"/>
            <a:chOff x="4092791" y="3635676"/>
            <a:chExt cx="8355063" cy="3368075"/>
          </a:xfrm>
        </p:grpSpPr>
        <p:grpSp>
          <p:nvGrpSpPr>
            <p:cNvPr id="586" name="Group 585"/>
            <p:cNvGrpSpPr/>
            <p:nvPr/>
          </p:nvGrpSpPr>
          <p:grpSpPr>
            <a:xfrm>
              <a:off x="4092791" y="3635676"/>
              <a:ext cx="8355063" cy="3368075"/>
              <a:chOff x="3324709" y="3101831"/>
              <a:chExt cx="8935445" cy="3602037"/>
            </a:xfrm>
          </p:grpSpPr>
          <p:sp>
            <p:nvSpPr>
              <p:cNvPr id="592" name="Rectangle 12"/>
              <p:cNvSpPr>
                <a:spLocks noChangeArrowheads="1"/>
              </p:cNvSpPr>
              <p:nvPr/>
            </p:nvSpPr>
            <p:spPr bwMode="auto">
              <a:xfrm>
                <a:off x="11435400" y="5682395"/>
                <a:ext cx="475302" cy="9518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3" name="AutoShape 4"/>
              <p:cNvSpPr>
                <a:spLocks noChangeAspect="1" noChangeArrowheads="1" noTextEdit="1"/>
              </p:cNvSpPr>
              <p:nvPr/>
            </p:nvSpPr>
            <p:spPr bwMode="auto">
              <a:xfrm>
                <a:off x="3324709" y="3101831"/>
                <a:ext cx="8935445"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4" name="Rectangle 6"/>
              <p:cNvSpPr>
                <a:spLocks noChangeArrowheads="1"/>
              </p:cNvSpPr>
              <p:nvPr/>
            </p:nvSpPr>
            <p:spPr bwMode="auto">
              <a:xfrm>
                <a:off x="6464883" y="5419696"/>
                <a:ext cx="245593" cy="1214527"/>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5" name="Rectangle 7"/>
              <p:cNvSpPr>
                <a:spLocks noChangeArrowheads="1"/>
              </p:cNvSpPr>
              <p:nvPr/>
            </p:nvSpPr>
            <p:spPr bwMode="auto">
              <a:xfrm>
                <a:off x="6312151" y="4896741"/>
                <a:ext cx="245593" cy="1737482"/>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6" name="Rectangle 8"/>
              <p:cNvSpPr>
                <a:spLocks noChangeArrowheads="1"/>
              </p:cNvSpPr>
              <p:nvPr/>
            </p:nvSpPr>
            <p:spPr bwMode="auto">
              <a:xfrm>
                <a:off x="6996391"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7" name="Rectangle 9"/>
              <p:cNvSpPr>
                <a:spLocks noChangeArrowheads="1"/>
              </p:cNvSpPr>
              <p:nvPr/>
            </p:nvSpPr>
            <p:spPr bwMode="auto">
              <a:xfrm>
                <a:off x="7189445" y="5235195"/>
                <a:ext cx="476525" cy="13990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8" name="Rectangle 10"/>
              <p:cNvSpPr>
                <a:spLocks noChangeArrowheads="1"/>
              </p:cNvSpPr>
              <p:nvPr/>
            </p:nvSpPr>
            <p:spPr bwMode="auto">
              <a:xfrm>
                <a:off x="10228205" y="5419696"/>
                <a:ext cx="245593" cy="1214527"/>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9" name="Rectangle 11"/>
              <p:cNvSpPr>
                <a:spLocks noChangeArrowheads="1"/>
              </p:cNvSpPr>
              <p:nvPr/>
            </p:nvSpPr>
            <p:spPr bwMode="auto">
              <a:xfrm>
                <a:off x="10075472" y="4896741"/>
                <a:ext cx="245593" cy="1737482"/>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0" name="Rectangle 12"/>
              <p:cNvSpPr>
                <a:spLocks noChangeArrowheads="1"/>
              </p:cNvSpPr>
              <p:nvPr/>
            </p:nvSpPr>
            <p:spPr bwMode="auto">
              <a:xfrm>
                <a:off x="10759713" y="5682395"/>
                <a:ext cx="475302" cy="951828"/>
              </a:xfrm>
              <a:prstGeom prst="rect">
                <a:avLst/>
              </a:pr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1" name="Rectangle 13"/>
              <p:cNvSpPr>
                <a:spLocks noChangeArrowheads="1"/>
              </p:cNvSpPr>
              <p:nvPr/>
            </p:nvSpPr>
            <p:spPr bwMode="auto">
              <a:xfrm>
                <a:off x="10952766" y="5235195"/>
                <a:ext cx="476525" cy="1399028"/>
              </a:xfrm>
              <a:prstGeom prst="rect">
                <a:avLst/>
              </a:prstGeom>
              <a:solidFill>
                <a:srgbClr val="96969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2" name="Rectangle 14"/>
              <p:cNvSpPr>
                <a:spLocks noChangeArrowheads="1"/>
              </p:cNvSpPr>
              <p:nvPr/>
            </p:nvSpPr>
            <p:spPr bwMode="auto">
              <a:xfrm>
                <a:off x="9408338" y="5044585"/>
                <a:ext cx="779545" cy="165683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3" name="Rectangle 15"/>
              <p:cNvSpPr>
                <a:spLocks noChangeArrowheads="1"/>
              </p:cNvSpPr>
              <p:nvPr/>
            </p:nvSpPr>
            <p:spPr bwMode="auto">
              <a:xfrm>
                <a:off x="9835988"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4" name="Rectangle 16"/>
              <p:cNvSpPr>
                <a:spLocks noChangeArrowheads="1"/>
              </p:cNvSpPr>
              <p:nvPr/>
            </p:nvSpPr>
            <p:spPr bwMode="auto">
              <a:xfrm>
                <a:off x="9660041" y="6504706"/>
                <a:ext cx="103858" cy="19672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5" name="Rectangle 17"/>
              <p:cNvSpPr>
                <a:spLocks noChangeArrowheads="1"/>
              </p:cNvSpPr>
              <p:nvPr/>
            </p:nvSpPr>
            <p:spPr bwMode="auto">
              <a:xfrm>
                <a:off x="9486537" y="5818021"/>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6" name="Rectangle 18"/>
              <p:cNvSpPr>
                <a:spLocks noChangeArrowheads="1"/>
              </p:cNvSpPr>
              <p:nvPr/>
            </p:nvSpPr>
            <p:spPr bwMode="auto">
              <a:xfrm>
                <a:off x="9486537" y="599396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7" name="Rectangle 19"/>
              <p:cNvSpPr>
                <a:spLocks noChangeArrowheads="1"/>
              </p:cNvSpPr>
              <p:nvPr/>
            </p:nvSpPr>
            <p:spPr bwMode="auto">
              <a:xfrm>
                <a:off x="9486537" y="6167473"/>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8" name="Rectangle 20"/>
              <p:cNvSpPr>
                <a:spLocks noChangeArrowheads="1"/>
              </p:cNvSpPr>
              <p:nvPr/>
            </p:nvSpPr>
            <p:spPr bwMode="auto">
              <a:xfrm>
                <a:off x="9486537" y="6343420"/>
                <a:ext cx="626813" cy="100192"/>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09" name="Rectangle 21"/>
              <p:cNvSpPr>
                <a:spLocks noChangeArrowheads="1"/>
              </p:cNvSpPr>
              <p:nvPr/>
            </p:nvSpPr>
            <p:spPr bwMode="auto">
              <a:xfrm>
                <a:off x="9486537" y="5468570"/>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0" name="Rectangle 22"/>
              <p:cNvSpPr>
                <a:spLocks noChangeArrowheads="1"/>
              </p:cNvSpPr>
              <p:nvPr/>
            </p:nvSpPr>
            <p:spPr bwMode="auto">
              <a:xfrm>
                <a:off x="9486537" y="5644518"/>
                <a:ext cx="626813" cy="9774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1" name="Rectangle 23"/>
              <p:cNvSpPr>
                <a:spLocks noChangeArrowheads="1"/>
              </p:cNvSpPr>
              <p:nvPr/>
            </p:nvSpPr>
            <p:spPr bwMode="auto">
              <a:xfrm>
                <a:off x="9486537" y="5119119"/>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2" name="Rectangle 24"/>
              <p:cNvSpPr>
                <a:spLocks noChangeArrowheads="1"/>
              </p:cNvSpPr>
              <p:nvPr/>
            </p:nvSpPr>
            <p:spPr bwMode="auto">
              <a:xfrm>
                <a:off x="9486537" y="5295066"/>
                <a:ext cx="626813" cy="101415"/>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3" name="Rectangle 26"/>
              <p:cNvSpPr>
                <a:spLocks noChangeArrowheads="1"/>
              </p:cNvSpPr>
              <p:nvPr/>
            </p:nvSpPr>
            <p:spPr bwMode="auto">
              <a:xfrm>
                <a:off x="4767723" y="5044585"/>
                <a:ext cx="779544" cy="165684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4" name="Rectangle 27"/>
              <p:cNvSpPr>
                <a:spLocks noChangeArrowheads="1"/>
              </p:cNvSpPr>
              <p:nvPr/>
            </p:nvSpPr>
            <p:spPr bwMode="auto">
              <a:xfrm>
                <a:off x="5195373"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5" name="Rectangle 28"/>
              <p:cNvSpPr>
                <a:spLocks noChangeArrowheads="1"/>
              </p:cNvSpPr>
              <p:nvPr/>
            </p:nvSpPr>
            <p:spPr bwMode="auto">
              <a:xfrm>
                <a:off x="5019425" y="6504706"/>
                <a:ext cx="103858" cy="1967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6" name="Rectangle 29"/>
              <p:cNvSpPr>
                <a:spLocks noChangeArrowheads="1"/>
              </p:cNvSpPr>
              <p:nvPr/>
            </p:nvSpPr>
            <p:spPr bwMode="auto">
              <a:xfrm>
                <a:off x="4845921" y="5818021"/>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7" name="Rectangle 30"/>
              <p:cNvSpPr>
                <a:spLocks noChangeArrowheads="1"/>
              </p:cNvSpPr>
              <p:nvPr/>
            </p:nvSpPr>
            <p:spPr bwMode="auto">
              <a:xfrm>
                <a:off x="4845921" y="599396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8" name="Rectangle 31"/>
              <p:cNvSpPr>
                <a:spLocks noChangeArrowheads="1"/>
              </p:cNvSpPr>
              <p:nvPr/>
            </p:nvSpPr>
            <p:spPr bwMode="auto">
              <a:xfrm>
                <a:off x="4845921" y="6167473"/>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19" name="Rectangle 32"/>
              <p:cNvSpPr>
                <a:spLocks noChangeArrowheads="1"/>
              </p:cNvSpPr>
              <p:nvPr/>
            </p:nvSpPr>
            <p:spPr bwMode="auto">
              <a:xfrm>
                <a:off x="4845921" y="6343420"/>
                <a:ext cx="625591" cy="100192"/>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0" name="Rectangle 33"/>
              <p:cNvSpPr>
                <a:spLocks noChangeArrowheads="1"/>
              </p:cNvSpPr>
              <p:nvPr/>
            </p:nvSpPr>
            <p:spPr bwMode="auto">
              <a:xfrm>
                <a:off x="4845921" y="5468570"/>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1" name="Rectangle 34"/>
              <p:cNvSpPr>
                <a:spLocks noChangeArrowheads="1"/>
              </p:cNvSpPr>
              <p:nvPr/>
            </p:nvSpPr>
            <p:spPr bwMode="auto">
              <a:xfrm>
                <a:off x="4845921" y="5644518"/>
                <a:ext cx="625591" cy="97749"/>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2" name="Rectangle 35"/>
              <p:cNvSpPr>
                <a:spLocks noChangeArrowheads="1"/>
              </p:cNvSpPr>
              <p:nvPr/>
            </p:nvSpPr>
            <p:spPr bwMode="auto">
              <a:xfrm>
                <a:off x="4845921" y="5119119"/>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3" name="Rectangle 36"/>
              <p:cNvSpPr>
                <a:spLocks noChangeArrowheads="1"/>
              </p:cNvSpPr>
              <p:nvPr/>
            </p:nvSpPr>
            <p:spPr bwMode="auto">
              <a:xfrm>
                <a:off x="4845921" y="5295066"/>
                <a:ext cx="625591" cy="101415"/>
              </a:xfrm>
              <a:prstGeom prst="rect">
                <a:avLst/>
              </a:prstGeom>
              <a:solidFill>
                <a:srgbClr val="008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4" name="Freeform 37"/>
              <p:cNvSpPr>
                <a:spLocks/>
              </p:cNvSpPr>
              <p:nvPr/>
            </p:nvSpPr>
            <p:spPr bwMode="auto">
              <a:xfrm>
                <a:off x="7823589" y="5725160"/>
                <a:ext cx="1160765" cy="976265"/>
              </a:xfrm>
              <a:custGeom>
                <a:avLst/>
                <a:gdLst>
                  <a:gd name="T0" fmla="*/ 522 w 950"/>
                  <a:gd name="T1" fmla="*/ 135 h 799"/>
                  <a:gd name="T2" fmla="*/ 522 w 950"/>
                  <a:gd name="T3" fmla="*/ 0 h 799"/>
                  <a:gd name="T4" fmla="*/ 626 w 950"/>
                  <a:gd name="T5" fmla="*/ 0 h 799"/>
                  <a:gd name="T6" fmla="*/ 626 w 950"/>
                  <a:gd name="T7" fmla="*/ 135 h 799"/>
                  <a:gd name="T8" fmla="*/ 662 w 950"/>
                  <a:gd name="T9" fmla="*/ 135 h 799"/>
                  <a:gd name="T10" fmla="*/ 662 w 950"/>
                  <a:gd name="T11" fmla="*/ 0 h 799"/>
                  <a:gd name="T12" fmla="*/ 766 w 950"/>
                  <a:gd name="T13" fmla="*/ 0 h 799"/>
                  <a:gd name="T14" fmla="*/ 766 w 950"/>
                  <a:gd name="T15" fmla="*/ 135 h 799"/>
                  <a:gd name="T16" fmla="*/ 950 w 950"/>
                  <a:gd name="T17" fmla="*/ 135 h 799"/>
                  <a:gd name="T18" fmla="*/ 950 w 950"/>
                  <a:gd name="T19" fmla="*/ 168 h 799"/>
                  <a:gd name="T20" fmla="*/ 908 w 950"/>
                  <a:gd name="T21" fmla="*/ 168 h 799"/>
                  <a:gd name="T22" fmla="*/ 908 w 950"/>
                  <a:gd name="T23" fmla="*/ 799 h 799"/>
                  <a:gd name="T24" fmla="*/ 43 w 950"/>
                  <a:gd name="T25" fmla="*/ 799 h 799"/>
                  <a:gd name="T26" fmla="*/ 43 w 950"/>
                  <a:gd name="T27" fmla="*/ 168 h 799"/>
                  <a:gd name="T28" fmla="*/ 0 w 950"/>
                  <a:gd name="T29" fmla="*/ 168 h 799"/>
                  <a:gd name="T30" fmla="*/ 0 w 950"/>
                  <a:gd name="T31" fmla="*/ 135 h 799"/>
                  <a:gd name="T32" fmla="*/ 522 w 950"/>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0" h="799">
                    <a:moveTo>
                      <a:pt x="522" y="135"/>
                    </a:moveTo>
                    <a:lnTo>
                      <a:pt x="522" y="0"/>
                    </a:lnTo>
                    <a:lnTo>
                      <a:pt x="626" y="0"/>
                    </a:lnTo>
                    <a:lnTo>
                      <a:pt x="626" y="135"/>
                    </a:lnTo>
                    <a:lnTo>
                      <a:pt x="662" y="135"/>
                    </a:lnTo>
                    <a:lnTo>
                      <a:pt x="662" y="0"/>
                    </a:lnTo>
                    <a:lnTo>
                      <a:pt x="766" y="0"/>
                    </a:lnTo>
                    <a:lnTo>
                      <a:pt x="766" y="135"/>
                    </a:lnTo>
                    <a:lnTo>
                      <a:pt x="950" y="135"/>
                    </a:lnTo>
                    <a:lnTo>
                      <a:pt x="950" y="168"/>
                    </a:lnTo>
                    <a:lnTo>
                      <a:pt x="908" y="168"/>
                    </a:lnTo>
                    <a:lnTo>
                      <a:pt x="908" y="799"/>
                    </a:lnTo>
                    <a:lnTo>
                      <a:pt x="43" y="799"/>
                    </a:lnTo>
                    <a:lnTo>
                      <a:pt x="43" y="168"/>
                    </a:lnTo>
                    <a:lnTo>
                      <a:pt x="0" y="168"/>
                    </a:lnTo>
                    <a:lnTo>
                      <a:pt x="0" y="135"/>
                    </a:lnTo>
                    <a:lnTo>
                      <a:pt x="522"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5" name="Freeform 38"/>
              <p:cNvSpPr>
                <a:spLocks/>
              </p:cNvSpPr>
              <p:nvPr/>
            </p:nvSpPr>
            <p:spPr bwMode="auto">
              <a:xfrm>
                <a:off x="7208994" y="5725160"/>
                <a:ext cx="1163209" cy="976265"/>
              </a:xfrm>
              <a:custGeom>
                <a:avLst/>
                <a:gdLst>
                  <a:gd name="T0" fmla="*/ 525 w 952"/>
                  <a:gd name="T1" fmla="*/ 135 h 799"/>
                  <a:gd name="T2" fmla="*/ 525 w 952"/>
                  <a:gd name="T3" fmla="*/ 0 h 799"/>
                  <a:gd name="T4" fmla="*/ 629 w 952"/>
                  <a:gd name="T5" fmla="*/ 0 h 799"/>
                  <a:gd name="T6" fmla="*/ 629 w 952"/>
                  <a:gd name="T7" fmla="*/ 135 h 799"/>
                  <a:gd name="T8" fmla="*/ 664 w 952"/>
                  <a:gd name="T9" fmla="*/ 135 h 799"/>
                  <a:gd name="T10" fmla="*/ 664 w 952"/>
                  <a:gd name="T11" fmla="*/ 0 h 799"/>
                  <a:gd name="T12" fmla="*/ 766 w 952"/>
                  <a:gd name="T13" fmla="*/ 0 h 799"/>
                  <a:gd name="T14" fmla="*/ 766 w 952"/>
                  <a:gd name="T15" fmla="*/ 135 h 799"/>
                  <a:gd name="T16" fmla="*/ 952 w 952"/>
                  <a:gd name="T17" fmla="*/ 135 h 799"/>
                  <a:gd name="T18" fmla="*/ 952 w 952"/>
                  <a:gd name="T19" fmla="*/ 168 h 799"/>
                  <a:gd name="T20" fmla="*/ 910 w 952"/>
                  <a:gd name="T21" fmla="*/ 168 h 799"/>
                  <a:gd name="T22" fmla="*/ 910 w 952"/>
                  <a:gd name="T23" fmla="*/ 799 h 799"/>
                  <a:gd name="T24" fmla="*/ 43 w 952"/>
                  <a:gd name="T25" fmla="*/ 799 h 799"/>
                  <a:gd name="T26" fmla="*/ 43 w 952"/>
                  <a:gd name="T27" fmla="*/ 168 h 799"/>
                  <a:gd name="T28" fmla="*/ 0 w 952"/>
                  <a:gd name="T29" fmla="*/ 168 h 799"/>
                  <a:gd name="T30" fmla="*/ 0 w 952"/>
                  <a:gd name="T31" fmla="*/ 135 h 799"/>
                  <a:gd name="T32" fmla="*/ 525 w 952"/>
                  <a:gd name="T33" fmla="*/ 135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2" h="799">
                    <a:moveTo>
                      <a:pt x="525" y="135"/>
                    </a:moveTo>
                    <a:lnTo>
                      <a:pt x="525" y="0"/>
                    </a:lnTo>
                    <a:lnTo>
                      <a:pt x="629" y="0"/>
                    </a:lnTo>
                    <a:lnTo>
                      <a:pt x="629" y="135"/>
                    </a:lnTo>
                    <a:lnTo>
                      <a:pt x="664" y="135"/>
                    </a:lnTo>
                    <a:lnTo>
                      <a:pt x="664" y="0"/>
                    </a:lnTo>
                    <a:lnTo>
                      <a:pt x="766" y="0"/>
                    </a:lnTo>
                    <a:lnTo>
                      <a:pt x="766" y="135"/>
                    </a:lnTo>
                    <a:lnTo>
                      <a:pt x="952" y="135"/>
                    </a:lnTo>
                    <a:lnTo>
                      <a:pt x="952" y="168"/>
                    </a:lnTo>
                    <a:lnTo>
                      <a:pt x="910" y="168"/>
                    </a:lnTo>
                    <a:lnTo>
                      <a:pt x="910" y="799"/>
                    </a:lnTo>
                    <a:lnTo>
                      <a:pt x="43" y="799"/>
                    </a:lnTo>
                    <a:lnTo>
                      <a:pt x="43" y="168"/>
                    </a:lnTo>
                    <a:lnTo>
                      <a:pt x="0" y="168"/>
                    </a:lnTo>
                    <a:lnTo>
                      <a:pt x="0" y="135"/>
                    </a:lnTo>
                    <a:lnTo>
                      <a:pt x="525" y="135"/>
                    </a:lnTo>
                    <a:close/>
                  </a:path>
                </a:pathLst>
              </a:cu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6" name="Rectangle 39"/>
              <p:cNvSpPr>
                <a:spLocks noChangeArrowheads="1"/>
              </p:cNvSpPr>
              <p:nvPr/>
            </p:nvSpPr>
            <p:spPr bwMode="auto">
              <a:xfrm>
                <a:off x="8670336" y="5381818"/>
                <a:ext cx="1058129" cy="1319606"/>
              </a:xfrm>
              <a:prstGeom prst="rect">
                <a:avLst/>
              </a:prstGeom>
              <a:solidFill>
                <a:srgbClr val="FFFFFF">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7" name="Rectangle 40"/>
              <p:cNvSpPr>
                <a:spLocks noChangeArrowheads="1"/>
              </p:cNvSpPr>
              <p:nvPr/>
            </p:nvSpPr>
            <p:spPr bwMode="auto">
              <a:xfrm>
                <a:off x="8617797" y="5341497"/>
                <a:ext cx="1163209" cy="403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8" name="Rectangle 41"/>
              <p:cNvSpPr>
                <a:spLocks noChangeArrowheads="1"/>
              </p:cNvSpPr>
              <p:nvPr/>
            </p:nvSpPr>
            <p:spPr bwMode="auto">
              <a:xfrm>
                <a:off x="9253163"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29" name="Rectangle 42"/>
              <p:cNvSpPr>
                <a:spLocks noChangeArrowheads="1"/>
              </p:cNvSpPr>
              <p:nvPr/>
            </p:nvSpPr>
            <p:spPr bwMode="auto">
              <a:xfrm>
                <a:off x="9013678" y="6435059"/>
                <a:ext cx="138070" cy="26636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0" name="Rectangle 43"/>
              <p:cNvSpPr>
                <a:spLocks noChangeArrowheads="1"/>
              </p:cNvSpPr>
              <p:nvPr/>
            </p:nvSpPr>
            <p:spPr bwMode="auto">
              <a:xfrm>
                <a:off x="8776638" y="5500338"/>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1" name="Rectangle 44"/>
              <p:cNvSpPr>
                <a:spLocks noChangeArrowheads="1"/>
              </p:cNvSpPr>
              <p:nvPr/>
            </p:nvSpPr>
            <p:spPr bwMode="auto">
              <a:xfrm>
                <a:off x="8776638" y="5737379"/>
                <a:ext cx="854078" cy="1380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2" name="Rectangle 45"/>
              <p:cNvSpPr>
                <a:spLocks noChangeArrowheads="1"/>
              </p:cNvSpPr>
              <p:nvPr/>
            </p:nvSpPr>
            <p:spPr bwMode="auto">
              <a:xfrm>
                <a:off x="8776638" y="5976863"/>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3" name="Rectangle 46"/>
              <p:cNvSpPr>
                <a:spLocks noChangeArrowheads="1"/>
              </p:cNvSpPr>
              <p:nvPr/>
            </p:nvSpPr>
            <p:spPr bwMode="auto">
              <a:xfrm>
                <a:off x="8776638" y="6212681"/>
                <a:ext cx="854078" cy="1356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4" name="Rectangle 47"/>
              <p:cNvSpPr>
                <a:spLocks noChangeArrowheads="1"/>
              </p:cNvSpPr>
              <p:nvPr/>
            </p:nvSpPr>
            <p:spPr bwMode="auto">
              <a:xfrm>
                <a:off x="9728465" y="6634222"/>
                <a:ext cx="2531689"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5" name="Rectangle 48"/>
              <p:cNvSpPr>
                <a:spLocks noChangeArrowheads="1"/>
              </p:cNvSpPr>
              <p:nvPr/>
            </p:nvSpPr>
            <p:spPr bwMode="auto">
              <a:xfrm>
                <a:off x="8842618" y="5176546"/>
                <a:ext cx="410544" cy="164951"/>
              </a:xfrm>
              <a:prstGeom prst="rect">
                <a:avLst/>
              </a:prstGeom>
              <a:solidFill>
                <a:srgbClr val="0072C6">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6" name="Rectangle 49"/>
              <p:cNvSpPr>
                <a:spLocks noChangeArrowheads="1"/>
              </p:cNvSpPr>
              <p:nvPr/>
            </p:nvSpPr>
            <p:spPr bwMode="auto">
              <a:xfrm>
                <a:off x="7380053" y="3500156"/>
                <a:ext cx="1055684" cy="32012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7" name="Rectangle 51"/>
              <p:cNvSpPr>
                <a:spLocks noChangeArrowheads="1"/>
              </p:cNvSpPr>
              <p:nvPr/>
            </p:nvSpPr>
            <p:spPr bwMode="auto">
              <a:xfrm>
                <a:off x="7959215" y="6435059"/>
                <a:ext cx="139292"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8" name="Rectangle 52"/>
              <p:cNvSpPr>
                <a:spLocks noChangeArrowheads="1"/>
              </p:cNvSpPr>
              <p:nvPr/>
            </p:nvSpPr>
            <p:spPr bwMode="auto">
              <a:xfrm>
                <a:off x="7723397" y="6435059"/>
                <a:ext cx="135626" cy="26636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39" name="Rectangle 53"/>
              <p:cNvSpPr>
                <a:spLocks noChangeArrowheads="1"/>
              </p:cNvSpPr>
              <p:nvPr/>
            </p:nvSpPr>
            <p:spPr bwMode="auto">
              <a:xfrm>
                <a:off x="7483913" y="5500338"/>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0" name="Rectangle 54"/>
              <p:cNvSpPr>
                <a:spLocks noChangeArrowheads="1"/>
              </p:cNvSpPr>
              <p:nvPr/>
            </p:nvSpPr>
            <p:spPr bwMode="auto">
              <a:xfrm>
                <a:off x="7483913" y="573737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1" name="Rectangle 55"/>
              <p:cNvSpPr>
                <a:spLocks noChangeArrowheads="1"/>
              </p:cNvSpPr>
              <p:nvPr/>
            </p:nvSpPr>
            <p:spPr bwMode="auto">
              <a:xfrm>
                <a:off x="7483913" y="5976863"/>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2" name="Rectangle 56"/>
              <p:cNvSpPr>
                <a:spLocks noChangeArrowheads="1"/>
              </p:cNvSpPr>
              <p:nvPr/>
            </p:nvSpPr>
            <p:spPr bwMode="auto">
              <a:xfrm>
                <a:off x="7483913" y="6212681"/>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3" name="Rectangle 57"/>
              <p:cNvSpPr>
                <a:spLocks noChangeArrowheads="1"/>
              </p:cNvSpPr>
              <p:nvPr/>
            </p:nvSpPr>
            <p:spPr bwMode="auto">
              <a:xfrm>
                <a:off x="7483913" y="5027479"/>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4" name="Rectangle 58"/>
              <p:cNvSpPr>
                <a:spLocks noChangeArrowheads="1"/>
              </p:cNvSpPr>
              <p:nvPr/>
            </p:nvSpPr>
            <p:spPr bwMode="auto">
              <a:xfrm>
                <a:off x="7483913" y="52632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5" name="Rectangle 59"/>
              <p:cNvSpPr>
                <a:spLocks noChangeArrowheads="1"/>
              </p:cNvSpPr>
              <p:nvPr/>
            </p:nvSpPr>
            <p:spPr bwMode="auto">
              <a:xfrm>
                <a:off x="7483913" y="4313914"/>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6" name="Rectangle 60"/>
              <p:cNvSpPr>
                <a:spLocks noChangeArrowheads="1"/>
              </p:cNvSpPr>
              <p:nvPr/>
            </p:nvSpPr>
            <p:spPr bwMode="auto">
              <a:xfrm>
                <a:off x="7483913" y="4553398"/>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7" name="Rectangle 61"/>
              <p:cNvSpPr>
                <a:spLocks noChangeArrowheads="1"/>
              </p:cNvSpPr>
              <p:nvPr/>
            </p:nvSpPr>
            <p:spPr bwMode="auto">
              <a:xfrm>
                <a:off x="7483913" y="4790439"/>
                <a:ext cx="854078" cy="13807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8" name="Rectangle 62"/>
              <p:cNvSpPr>
                <a:spLocks noChangeArrowheads="1"/>
              </p:cNvSpPr>
              <p:nvPr/>
            </p:nvSpPr>
            <p:spPr bwMode="auto">
              <a:xfrm>
                <a:off x="7483913" y="384105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49" name="Rectangle 63"/>
              <p:cNvSpPr>
                <a:spLocks noChangeArrowheads="1"/>
              </p:cNvSpPr>
              <p:nvPr/>
            </p:nvSpPr>
            <p:spPr bwMode="auto">
              <a:xfrm>
                <a:off x="7483913" y="4076874"/>
                <a:ext cx="854078" cy="13929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0" name="Rectangle 64"/>
              <p:cNvSpPr>
                <a:spLocks noChangeArrowheads="1"/>
              </p:cNvSpPr>
              <p:nvPr/>
            </p:nvSpPr>
            <p:spPr bwMode="auto">
              <a:xfrm>
                <a:off x="7483913" y="3597905"/>
                <a:ext cx="854078" cy="13562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1" name="Rectangle 65"/>
              <p:cNvSpPr>
                <a:spLocks noChangeArrowheads="1"/>
              </p:cNvSpPr>
              <p:nvPr/>
            </p:nvSpPr>
            <p:spPr bwMode="auto">
              <a:xfrm>
                <a:off x="5420195" y="4447097"/>
                <a:ext cx="1059350" cy="225432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2" name="Rectangle 66"/>
              <p:cNvSpPr>
                <a:spLocks noChangeArrowheads="1"/>
              </p:cNvSpPr>
              <p:nvPr/>
            </p:nvSpPr>
            <p:spPr bwMode="auto">
              <a:xfrm>
                <a:off x="6003021" y="6435059"/>
                <a:ext cx="135626"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3" name="Rectangle 67"/>
              <p:cNvSpPr>
                <a:spLocks noChangeArrowheads="1"/>
              </p:cNvSpPr>
              <p:nvPr/>
            </p:nvSpPr>
            <p:spPr bwMode="auto">
              <a:xfrm>
                <a:off x="5763537" y="6435059"/>
                <a:ext cx="138070" cy="26636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4" name="Rectangle 68"/>
              <p:cNvSpPr>
                <a:spLocks noChangeArrowheads="1"/>
              </p:cNvSpPr>
              <p:nvPr/>
            </p:nvSpPr>
            <p:spPr bwMode="auto">
              <a:xfrm>
                <a:off x="5524053" y="5500338"/>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5" name="Rectangle 69"/>
              <p:cNvSpPr>
                <a:spLocks noChangeArrowheads="1"/>
              </p:cNvSpPr>
              <p:nvPr/>
            </p:nvSpPr>
            <p:spPr bwMode="auto">
              <a:xfrm>
                <a:off x="5524053" y="573737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6" name="Rectangle 70"/>
              <p:cNvSpPr>
                <a:spLocks noChangeArrowheads="1"/>
              </p:cNvSpPr>
              <p:nvPr/>
            </p:nvSpPr>
            <p:spPr bwMode="auto">
              <a:xfrm>
                <a:off x="5524053" y="5976863"/>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7" name="Rectangle 71"/>
              <p:cNvSpPr>
                <a:spLocks noChangeArrowheads="1"/>
              </p:cNvSpPr>
              <p:nvPr/>
            </p:nvSpPr>
            <p:spPr bwMode="auto">
              <a:xfrm>
                <a:off x="5524053" y="6212681"/>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8" name="Rectangle 72"/>
              <p:cNvSpPr>
                <a:spLocks noChangeArrowheads="1"/>
              </p:cNvSpPr>
              <p:nvPr/>
            </p:nvSpPr>
            <p:spPr bwMode="auto">
              <a:xfrm>
                <a:off x="5524053" y="5027479"/>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59" name="Rectangle 73"/>
              <p:cNvSpPr>
                <a:spLocks noChangeArrowheads="1"/>
              </p:cNvSpPr>
              <p:nvPr/>
            </p:nvSpPr>
            <p:spPr bwMode="auto">
              <a:xfrm>
                <a:off x="5524053" y="52632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0" name="Rectangle 74"/>
              <p:cNvSpPr>
                <a:spLocks noChangeArrowheads="1"/>
              </p:cNvSpPr>
              <p:nvPr/>
            </p:nvSpPr>
            <p:spPr bwMode="auto">
              <a:xfrm>
                <a:off x="5524053" y="4553398"/>
                <a:ext cx="854078" cy="13562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1" name="Rectangle 75"/>
              <p:cNvSpPr>
                <a:spLocks noChangeArrowheads="1"/>
              </p:cNvSpPr>
              <p:nvPr/>
            </p:nvSpPr>
            <p:spPr bwMode="auto">
              <a:xfrm>
                <a:off x="5524053" y="4790439"/>
                <a:ext cx="854078" cy="13807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2" name="Rectangle 76"/>
              <p:cNvSpPr>
                <a:spLocks noChangeArrowheads="1"/>
              </p:cNvSpPr>
              <p:nvPr/>
            </p:nvSpPr>
            <p:spPr bwMode="auto">
              <a:xfrm>
                <a:off x="8322861"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3" name="Rectangle 77"/>
              <p:cNvSpPr>
                <a:spLocks noChangeArrowheads="1"/>
              </p:cNvSpPr>
              <p:nvPr/>
            </p:nvSpPr>
            <p:spPr bwMode="auto">
              <a:xfrm>
                <a:off x="6479546" y="6634222"/>
                <a:ext cx="1142437"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4" name="Rectangle 79"/>
              <p:cNvSpPr>
                <a:spLocks noChangeArrowheads="1"/>
              </p:cNvSpPr>
              <p:nvPr/>
            </p:nvSpPr>
            <p:spPr bwMode="auto">
              <a:xfrm>
                <a:off x="5318780" y="5044584"/>
                <a:ext cx="101414" cy="165419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5" name="Freeform 84"/>
              <p:cNvSpPr>
                <a:spLocks/>
              </p:cNvSpPr>
              <p:nvPr/>
            </p:nvSpPr>
            <p:spPr bwMode="auto">
              <a:xfrm>
                <a:off x="4592805" y="6455831"/>
                <a:ext cx="48873"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6" name="Oval 85"/>
              <p:cNvSpPr>
                <a:spLocks noChangeArrowheads="1"/>
              </p:cNvSpPr>
              <p:nvPr/>
            </p:nvSpPr>
            <p:spPr bwMode="auto">
              <a:xfrm>
                <a:off x="4479167" y="6290880"/>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7" name="Oval 86"/>
              <p:cNvSpPr>
                <a:spLocks noChangeArrowheads="1"/>
              </p:cNvSpPr>
              <p:nvPr/>
            </p:nvSpPr>
            <p:spPr bwMode="auto">
              <a:xfrm>
                <a:off x="4514602" y="6163807"/>
                <a:ext cx="180835" cy="18205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8" name="Freeform 87"/>
              <p:cNvSpPr>
                <a:spLocks/>
              </p:cNvSpPr>
              <p:nvPr/>
            </p:nvSpPr>
            <p:spPr bwMode="auto">
              <a:xfrm>
                <a:off x="4763048" y="6510814"/>
                <a:ext cx="35434" cy="129518"/>
              </a:xfrm>
              <a:custGeom>
                <a:avLst/>
                <a:gdLst>
                  <a:gd name="T0" fmla="*/ 0 w 29"/>
                  <a:gd name="T1" fmla="*/ 0 h 106"/>
                  <a:gd name="T2" fmla="*/ 29 w 29"/>
                  <a:gd name="T3" fmla="*/ 0 h 106"/>
                  <a:gd name="T4" fmla="*/ 29 w 29"/>
                  <a:gd name="T5" fmla="*/ 106 h 106"/>
                  <a:gd name="T6" fmla="*/ 0 w 29"/>
                  <a:gd name="T7" fmla="*/ 106 h 106"/>
                  <a:gd name="T8" fmla="*/ 0 w 29"/>
                  <a:gd name="T9" fmla="*/ 0 h 106"/>
                  <a:gd name="T10" fmla="*/ 0 w 29"/>
                  <a:gd name="T11" fmla="*/ 0 h 106"/>
                </a:gdLst>
                <a:ahLst/>
                <a:cxnLst>
                  <a:cxn ang="0">
                    <a:pos x="T0" y="T1"/>
                  </a:cxn>
                  <a:cxn ang="0">
                    <a:pos x="T2" y="T3"/>
                  </a:cxn>
                  <a:cxn ang="0">
                    <a:pos x="T4" y="T5"/>
                  </a:cxn>
                  <a:cxn ang="0">
                    <a:pos x="T6" y="T7"/>
                  </a:cxn>
                  <a:cxn ang="0">
                    <a:pos x="T8" y="T9"/>
                  </a:cxn>
                  <a:cxn ang="0">
                    <a:pos x="T10" y="T11"/>
                  </a:cxn>
                </a:cxnLst>
                <a:rect l="0" t="0" r="r" b="b"/>
                <a:pathLst>
                  <a:path w="29" h="106">
                    <a:moveTo>
                      <a:pt x="0" y="0"/>
                    </a:moveTo>
                    <a:lnTo>
                      <a:pt x="29" y="0"/>
                    </a:lnTo>
                    <a:lnTo>
                      <a:pt x="29"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69" name="Oval 88"/>
              <p:cNvSpPr>
                <a:spLocks noChangeArrowheads="1"/>
              </p:cNvSpPr>
              <p:nvPr/>
            </p:nvSpPr>
            <p:spPr bwMode="auto">
              <a:xfrm>
                <a:off x="4694624" y="6394738"/>
                <a:ext cx="169838"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0" name="Oval 89"/>
              <p:cNvSpPr>
                <a:spLocks noChangeArrowheads="1"/>
              </p:cNvSpPr>
              <p:nvPr/>
            </p:nvSpPr>
            <p:spPr bwMode="auto">
              <a:xfrm>
                <a:off x="4717839" y="6307986"/>
                <a:ext cx="123407" cy="1270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1" name="Freeform 90"/>
              <p:cNvSpPr>
                <a:spLocks/>
              </p:cNvSpPr>
              <p:nvPr/>
            </p:nvSpPr>
            <p:spPr bwMode="auto">
              <a:xfrm>
                <a:off x="11310771"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2" name="Freeform 96"/>
              <p:cNvSpPr>
                <a:spLocks/>
              </p:cNvSpPr>
              <p:nvPr/>
            </p:nvSpPr>
            <p:spPr bwMode="auto">
              <a:xfrm>
                <a:off x="11795848" y="6464384"/>
                <a:ext cx="48874" cy="184501"/>
              </a:xfrm>
              <a:custGeom>
                <a:avLst/>
                <a:gdLst>
                  <a:gd name="T0" fmla="*/ 0 w 40"/>
                  <a:gd name="T1" fmla="*/ 0 h 151"/>
                  <a:gd name="T2" fmla="*/ 40 w 40"/>
                  <a:gd name="T3" fmla="*/ 0 h 151"/>
                  <a:gd name="T4" fmla="*/ 40 w 40"/>
                  <a:gd name="T5" fmla="*/ 151 h 151"/>
                  <a:gd name="T6" fmla="*/ 0 w 40"/>
                  <a:gd name="T7" fmla="*/ 151 h 151"/>
                  <a:gd name="T8" fmla="*/ 0 w 40"/>
                  <a:gd name="T9" fmla="*/ 0 h 151"/>
                  <a:gd name="T10" fmla="*/ 0 w 40"/>
                  <a:gd name="T11" fmla="*/ 0 h 151"/>
                </a:gdLst>
                <a:ahLst/>
                <a:cxnLst>
                  <a:cxn ang="0">
                    <a:pos x="T0" y="T1"/>
                  </a:cxn>
                  <a:cxn ang="0">
                    <a:pos x="T2" y="T3"/>
                  </a:cxn>
                  <a:cxn ang="0">
                    <a:pos x="T4" y="T5"/>
                  </a:cxn>
                  <a:cxn ang="0">
                    <a:pos x="T6" y="T7"/>
                  </a:cxn>
                  <a:cxn ang="0">
                    <a:pos x="T8" y="T9"/>
                  </a:cxn>
                  <a:cxn ang="0">
                    <a:pos x="T10" y="T11"/>
                  </a:cxn>
                </a:cxnLst>
                <a:rect l="0" t="0" r="r" b="b"/>
                <a:pathLst>
                  <a:path w="40" h="151">
                    <a:moveTo>
                      <a:pt x="0" y="0"/>
                    </a:moveTo>
                    <a:lnTo>
                      <a:pt x="40" y="0"/>
                    </a:lnTo>
                    <a:lnTo>
                      <a:pt x="40" y="151"/>
                    </a:lnTo>
                    <a:lnTo>
                      <a:pt x="0" y="15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3" name="Oval 97"/>
              <p:cNvSpPr>
                <a:spLocks noChangeArrowheads="1"/>
              </p:cNvSpPr>
              <p:nvPr/>
            </p:nvSpPr>
            <p:spPr bwMode="auto">
              <a:xfrm>
                <a:off x="11694434" y="6299433"/>
                <a:ext cx="248037" cy="24559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4" name="Freeform 99"/>
              <p:cNvSpPr>
                <a:spLocks/>
              </p:cNvSpPr>
              <p:nvPr/>
            </p:nvSpPr>
            <p:spPr bwMode="auto">
              <a:xfrm>
                <a:off x="11974239" y="6519368"/>
                <a:ext cx="34212" cy="129517"/>
              </a:xfrm>
              <a:custGeom>
                <a:avLst/>
                <a:gdLst>
                  <a:gd name="T0" fmla="*/ 0 w 28"/>
                  <a:gd name="T1" fmla="*/ 0 h 106"/>
                  <a:gd name="T2" fmla="*/ 28 w 28"/>
                  <a:gd name="T3" fmla="*/ 0 h 106"/>
                  <a:gd name="T4" fmla="*/ 28 w 28"/>
                  <a:gd name="T5" fmla="*/ 106 h 106"/>
                  <a:gd name="T6" fmla="*/ 0 w 28"/>
                  <a:gd name="T7" fmla="*/ 106 h 106"/>
                  <a:gd name="T8" fmla="*/ 0 w 28"/>
                  <a:gd name="T9" fmla="*/ 0 h 106"/>
                  <a:gd name="T10" fmla="*/ 0 w 28"/>
                  <a:gd name="T11" fmla="*/ 0 h 106"/>
                </a:gdLst>
                <a:ahLst/>
                <a:cxnLst>
                  <a:cxn ang="0">
                    <a:pos x="T0" y="T1"/>
                  </a:cxn>
                  <a:cxn ang="0">
                    <a:pos x="T2" y="T3"/>
                  </a:cxn>
                  <a:cxn ang="0">
                    <a:pos x="T4" y="T5"/>
                  </a:cxn>
                  <a:cxn ang="0">
                    <a:pos x="T6" y="T7"/>
                  </a:cxn>
                  <a:cxn ang="0">
                    <a:pos x="T8" y="T9"/>
                  </a:cxn>
                  <a:cxn ang="0">
                    <a:pos x="T10" y="T11"/>
                  </a:cxn>
                </a:cxnLst>
                <a:rect l="0" t="0" r="r" b="b"/>
                <a:pathLst>
                  <a:path w="28" h="106">
                    <a:moveTo>
                      <a:pt x="0" y="0"/>
                    </a:moveTo>
                    <a:lnTo>
                      <a:pt x="28" y="0"/>
                    </a:lnTo>
                    <a:lnTo>
                      <a:pt x="28" y="106"/>
                    </a:lnTo>
                    <a:lnTo>
                      <a:pt x="0" y="10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5" name="Oval 100"/>
              <p:cNvSpPr>
                <a:spLocks noChangeArrowheads="1"/>
              </p:cNvSpPr>
              <p:nvPr/>
            </p:nvSpPr>
            <p:spPr bwMode="auto">
              <a:xfrm>
                <a:off x="11904594" y="6403291"/>
                <a:ext cx="171060" cy="17350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6" name="Oval 101"/>
              <p:cNvSpPr>
                <a:spLocks noChangeArrowheads="1"/>
              </p:cNvSpPr>
              <p:nvPr/>
            </p:nvSpPr>
            <p:spPr bwMode="auto">
              <a:xfrm>
                <a:off x="11927809" y="6314096"/>
                <a:ext cx="124629" cy="12951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7" name="Rectangle 78"/>
              <p:cNvSpPr>
                <a:spLocks noChangeArrowheads="1"/>
              </p:cNvSpPr>
              <p:nvPr/>
            </p:nvSpPr>
            <p:spPr bwMode="auto">
              <a:xfrm>
                <a:off x="4484278" y="6634222"/>
                <a:ext cx="1139993" cy="67203"/>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8" name="Rectangle 77"/>
              <p:cNvSpPr>
                <a:spLocks noChangeArrowheads="1"/>
              </p:cNvSpPr>
              <p:nvPr/>
            </p:nvSpPr>
            <p:spPr bwMode="auto">
              <a:xfrm>
                <a:off x="6155100" y="6634222"/>
                <a:ext cx="1142438"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679" name="Rectangle 76"/>
              <p:cNvSpPr>
                <a:spLocks noChangeArrowheads="1"/>
              </p:cNvSpPr>
              <p:nvPr/>
            </p:nvSpPr>
            <p:spPr bwMode="auto">
              <a:xfrm>
                <a:off x="8522022" y="6634222"/>
                <a:ext cx="398325" cy="67204"/>
              </a:xfrm>
              <a:prstGeom prst="rect">
                <a:avLst/>
              </a:prstGeom>
              <a:solidFill>
                <a:srgbClr val="0072C6">
                  <a:lumMod val="5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587" name="Freeform 586"/>
            <p:cNvSpPr>
              <a:spLocks noEditPoints="1"/>
            </p:cNvSpPr>
            <p:nvPr/>
          </p:nvSpPr>
          <p:spPr bwMode="auto">
            <a:xfrm flipH="1">
              <a:off x="10755933"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8" name="Freeform 587"/>
            <p:cNvSpPr>
              <a:spLocks noEditPoints="1"/>
            </p:cNvSpPr>
            <p:nvPr/>
          </p:nvSpPr>
          <p:spPr bwMode="auto">
            <a:xfrm flipH="1">
              <a:off x="8781898" y="6646632"/>
              <a:ext cx="461492" cy="299404"/>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89" name="Freeform 588"/>
            <p:cNvSpPr>
              <a:spLocks noEditPoints="1"/>
            </p:cNvSpPr>
            <p:nvPr/>
          </p:nvSpPr>
          <p:spPr bwMode="auto">
            <a:xfrm flipH="1">
              <a:off x="5710014" y="6646633"/>
              <a:ext cx="461492" cy="299405"/>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0" name="Freeform 589"/>
            <p:cNvSpPr>
              <a:spLocks noEditPoints="1"/>
            </p:cNvSpPr>
            <p:nvPr/>
          </p:nvSpPr>
          <p:spPr bwMode="auto">
            <a:xfrm flipH="1">
              <a:off x="6826516"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591" name="Freeform 590"/>
            <p:cNvSpPr>
              <a:spLocks noEditPoints="1"/>
            </p:cNvSpPr>
            <p:nvPr/>
          </p:nvSpPr>
          <p:spPr bwMode="auto">
            <a:xfrm>
              <a:off x="7346081" y="6646631"/>
              <a:ext cx="461492" cy="299403"/>
            </a:xfrm>
            <a:custGeom>
              <a:avLst/>
              <a:gdLst>
                <a:gd name="T0" fmla="*/ 1443 w 1898"/>
                <a:gd name="T1" fmla="*/ 464 h 1230"/>
                <a:gd name="T2" fmla="*/ 1359 w 1898"/>
                <a:gd name="T3" fmla="*/ 81 h 1230"/>
                <a:gd name="T4" fmla="*/ 1177 w 1898"/>
                <a:gd name="T5" fmla="*/ 47 h 1230"/>
                <a:gd name="T6" fmla="*/ 1062 w 1898"/>
                <a:gd name="T7" fmla="*/ 17 h 1230"/>
                <a:gd name="T8" fmla="*/ 1171 w 1898"/>
                <a:gd name="T9" fmla="*/ 135 h 1230"/>
                <a:gd name="T10" fmla="*/ 1280 w 1898"/>
                <a:gd name="T11" fmla="*/ 135 h 1230"/>
                <a:gd name="T12" fmla="*/ 675 w 1898"/>
                <a:gd name="T13" fmla="*/ 278 h 1230"/>
                <a:gd name="T14" fmla="*/ 655 w 1898"/>
                <a:gd name="T15" fmla="*/ 200 h 1230"/>
                <a:gd name="T16" fmla="*/ 717 w 1898"/>
                <a:gd name="T17" fmla="*/ 135 h 1230"/>
                <a:gd name="T18" fmla="*/ 652 w 1898"/>
                <a:gd name="T19" fmla="*/ 70 h 1230"/>
                <a:gd name="T20" fmla="*/ 445 w 1898"/>
                <a:gd name="T21" fmla="*/ 71 h 1230"/>
                <a:gd name="T22" fmla="*/ 446 w 1898"/>
                <a:gd name="T23" fmla="*/ 215 h 1230"/>
                <a:gd name="T24" fmla="*/ 454 w 1898"/>
                <a:gd name="T25" fmla="*/ 216 h 1230"/>
                <a:gd name="T26" fmla="*/ 458 w 1898"/>
                <a:gd name="T27" fmla="*/ 216 h 1230"/>
                <a:gd name="T28" fmla="*/ 603 w 1898"/>
                <a:gd name="T29" fmla="*/ 331 h 1230"/>
                <a:gd name="T30" fmla="*/ 386 w 1898"/>
                <a:gd name="T31" fmla="*/ 458 h 1230"/>
                <a:gd name="T32" fmla="*/ 386 w 1898"/>
                <a:gd name="T33" fmla="*/ 1230 h 1230"/>
                <a:gd name="T34" fmla="*/ 911 w 1898"/>
                <a:gd name="T35" fmla="*/ 885 h 1230"/>
                <a:gd name="T36" fmla="*/ 911 w 1898"/>
                <a:gd name="T37" fmla="*/ 885 h 1230"/>
                <a:gd name="T38" fmla="*/ 921 w 1898"/>
                <a:gd name="T39" fmla="*/ 883 h 1230"/>
                <a:gd name="T40" fmla="*/ 931 w 1898"/>
                <a:gd name="T41" fmla="*/ 880 h 1230"/>
                <a:gd name="T42" fmla="*/ 935 w 1898"/>
                <a:gd name="T43" fmla="*/ 877 h 1230"/>
                <a:gd name="T44" fmla="*/ 943 w 1898"/>
                <a:gd name="T45" fmla="*/ 870 h 1230"/>
                <a:gd name="T46" fmla="*/ 945 w 1898"/>
                <a:gd name="T47" fmla="*/ 869 h 1230"/>
                <a:gd name="T48" fmla="*/ 1341 w 1898"/>
                <a:gd name="T49" fmla="*/ 411 h 1230"/>
                <a:gd name="T50" fmla="*/ 1358 w 1898"/>
                <a:gd name="T51" fmla="*/ 486 h 1230"/>
                <a:gd name="T52" fmla="*/ 1126 w 1898"/>
                <a:gd name="T53" fmla="*/ 844 h 1230"/>
                <a:gd name="T54" fmla="*/ 1898 w 1898"/>
                <a:gd name="T55" fmla="*/ 844 h 1230"/>
                <a:gd name="T56" fmla="*/ 652 w 1898"/>
                <a:gd name="T57" fmla="*/ 428 h 1230"/>
                <a:gd name="T58" fmla="*/ 769 w 1898"/>
                <a:gd name="T59" fmla="*/ 797 h 1230"/>
                <a:gd name="T60" fmla="*/ 652 w 1898"/>
                <a:gd name="T61" fmla="*/ 428 h 1230"/>
                <a:gd name="T62" fmla="*/ 459 w 1898"/>
                <a:gd name="T63" fmla="*/ 799 h 1230"/>
                <a:gd name="T64" fmla="*/ 679 w 1898"/>
                <a:gd name="T65" fmla="*/ 798 h 1230"/>
                <a:gd name="T66" fmla="*/ 88 w 1898"/>
                <a:gd name="T67" fmla="*/ 844 h 1230"/>
                <a:gd name="T68" fmla="*/ 483 w 1898"/>
                <a:gd name="T69" fmla="*/ 563 h 1230"/>
                <a:gd name="T70" fmla="*/ 348 w 1898"/>
                <a:gd name="T71" fmla="*/ 867 h 1230"/>
                <a:gd name="T72" fmla="*/ 386 w 1898"/>
                <a:gd name="T73" fmla="*/ 888 h 1230"/>
                <a:gd name="T74" fmla="*/ 386 w 1898"/>
                <a:gd name="T75" fmla="*/ 1142 h 1230"/>
                <a:gd name="T76" fmla="*/ 720 w 1898"/>
                <a:gd name="T77" fmla="*/ 366 h 1230"/>
                <a:gd name="T78" fmla="*/ 921 w 1898"/>
                <a:gd name="T79" fmla="*/ 762 h 1230"/>
                <a:gd name="T80" fmla="*/ 1214 w 1898"/>
                <a:gd name="T81" fmla="*/ 844 h 1230"/>
                <a:gd name="T82" fmla="*/ 1470 w 1898"/>
                <a:gd name="T83" fmla="*/ 857 h 1230"/>
                <a:gd name="T84" fmla="*/ 1525 w 1898"/>
                <a:gd name="T85" fmla="*/ 886 h 1230"/>
                <a:gd name="T86" fmla="*/ 1554 w 1898"/>
                <a:gd name="T87" fmla="*/ 831 h 1230"/>
                <a:gd name="T88" fmla="*/ 1512 w 1898"/>
                <a:gd name="T89" fmla="*/ 546 h 1230"/>
                <a:gd name="T90" fmla="*/ 1512 w 1898"/>
                <a:gd name="T91" fmla="*/ 1142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8" h="1230">
                  <a:moveTo>
                    <a:pt x="1512" y="458"/>
                  </a:moveTo>
                  <a:cubicBezTo>
                    <a:pt x="1489" y="458"/>
                    <a:pt x="1466" y="460"/>
                    <a:pt x="1443" y="464"/>
                  </a:cubicBezTo>
                  <a:cubicBezTo>
                    <a:pt x="1443" y="462"/>
                    <a:pt x="1443" y="462"/>
                    <a:pt x="1443" y="462"/>
                  </a:cubicBezTo>
                  <a:cubicBezTo>
                    <a:pt x="1359" y="81"/>
                    <a:pt x="1359" y="81"/>
                    <a:pt x="1359" y="81"/>
                  </a:cubicBezTo>
                  <a:cubicBezTo>
                    <a:pt x="1354" y="61"/>
                    <a:pt x="1336" y="47"/>
                    <a:pt x="1315" y="47"/>
                  </a:cubicBezTo>
                  <a:cubicBezTo>
                    <a:pt x="1177" y="47"/>
                    <a:pt x="1177" y="47"/>
                    <a:pt x="1177" y="47"/>
                  </a:cubicBezTo>
                  <a:cubicBezTo>
                    <a:pt x="1171" y="46"/>
                    <a:pt x="1147" y="41"/>
                    <a:pt x="1124" y="17"/>
                  </a:cubicBezTo>
                  <a:cubicBezTo>
                    <a:pt x="1107" y="0"/>
                    <a:pt x="1079" y="0"/>
                    <a:pt x="1062" y="17"/>
                  </a:cubicBezTo>
                  <a:cubicBezTo>
                    <a:pt x="1045" y="35"/>
                    <a:pt x="1045" y="63"/>
                    <a:pt x="1062" y="80"/>
                  </a:cubicBezTo>
                  <a:cubicBezTo>
                    <a:pt x="1112" y="130"/>
                    <a:pt x="1165" y="134"/>
                    <a:pt x="1171" y="135"/>
                  </a:cubicBezTo>
                  <a:cubicBezTo>
                    <a:pt x="1174" y="135"/>
                    <a:pt x="1174" y="135"/>
                    <a:pt x="1174" y="135"/>
                  </a:cubicBezTo>
                  <a:cubicBezTo>
                    <a:pt x="1280" y="135"/>
                    <a:pt x="1280" y="135"/>
                    <a:pt x="1280" y="135"/>
                  </a:cubicBezTo>
                  <a:cubicBezTo>
                    <a:pt x="1312" y="278"/>
                    <a:pt x="1312" y="278"/>
                    <a:pt x="1312" y="278"/>
                  </a:cubicBezTo>
                  <a:cubicBezTo>
                    <a:pt x="675" y="278"/>
                    <a:pt x="675" y="278"/>
                    <a:pt x="675" y="278"/>
                  </a:cubicBezTo>
                  <a:cubicBezTo>
                    <a:pt x="636" y="202"/>
                    <a:pt x="636" y="202"/>
                    <a:pt x="636" y="202"/>
                  </a:cubicBezTo>
                  <a:cubicBezTo>
                    <a:pt x="655" y="200"/>
                    <a:pt x="655" y="200"/>
                    <a:pt x="655" y="200"/>
                  </a:cubicBezTo>
                  <a:cubicBezTo>
                    <a:pt x="656" y="200"/>
                    <a:pt x="657" y="200"/>
                    <a:pt x="658" y="199"/>
                  </a:cubicBezTo>
                  <a:cubicBezTo>
                    <a:pt x="691" y="196"/>
                    <a:pt x="717" y="169"/>
                    <a:pt x="717" y="135"/>
                  </a:cubicBezTo>
                  <a:cubicBezTo>
                    <a:pt x="717" y="102"/>
                    <a:pt x="692" y="75"/>
                    <a:pt x="660" y="71"/>
                  </a:cubicBezTo>
                  <a:cubicBezTo>
                    <a:pt x="658" y="70"/>
                    <a:pt x="655" y="70"/>
                    <a:pt x="652" y="70"/>
                  </a:cubicBezTo>
                  <a:cubicBezTo>
                    <a:pt x="454" y="70"/>
                    <a:pt x="454" y="70"/>
                    <a:pt x="454" y="70"/>
                  </a:cubicBezTo>
                  <a:cubicBezTo>
                    <a:pt x="451" y="70"/>
                    <a:pt x="448" y="70"/>
                    <a:pt x="445" y="71"/>
                  </a:cubicBezTo>
                  <a:cubicBezTo>
                    <a:pt x="409" y="75"/>
                    <a:pt x="381" y="106"/>
                    <a:pt x="381" y="143"/>
                  </a:cubicBezTo>
                  <a:cubicBezTo>
                    <a:pt x="381" y="181"/>
                    <a:pt x="409" y="211"/>
                    <a:pt x="446" y="215"/>
                  </a:cubicBezTo>
                  <a:cubicBezTo>
                    <a:pt x="448" y="216"/>
                    <a:pt x="451" y="216"/>
                    <a:pt x="453" y="216"/>
                  </a:cubicBezTo>
                  <a:cubicBezTo>
                    <a:pt x="454" y="216"/>
                    <a:pt x="454" y="216"/>
                    <a:pt x="454" y="216"/>
                  </a:cubicBezTo>
                  <a:cubicBezTo>
                    <a:pt x="454" y="216"/>
                    <a:pt x="454" y="216"/>
                    <a:pt x="454" y="216"/>
                  </a:cubicBezTo>
                  <a:cubicBezTo>
                    <a:pt x="455" y="216"/>
                    <a:pt x="457" y="216"/>
                    <a:pt x="458" y="216"/>
                  </a:cubicBezTo>
                  <a:cubicBezTo>
                    <a:pt x="541" y="209"/>
                    <a:pt x="541" y="209"/>
                    <a:pt x="541" y="209"/>
                  </a:cubicBezTo>
                  <a:cubicBezTo>
                    <a:pt x="603" y="331"/>
                    <a:pt x="603" y="331"/>
                    <a:pt x="603" y="331"/>
                  </a:cubicBezTo>
                  <a:cubicBezTo>
                    <a:pt x="524" y="484"/>
                    <a:pt x="524" y="484"/>
                    <a:pt x="524" y="484"/>
                  </a:cubicBezTo>
                  <a:cubicBezTo>
                    <a:pt x="481" y="467"/>
                    <a:pt x="434" y="458"/>
                    <a:pt x="386" y="458"/>
                  </a:cubicBezTo>
                  <a:cubicBezTo>
                    <a:pt x="173" y="458"/>
                    <a:pt x="0" y="631"/>
                    <a:pt x="0" y="844"/>
                  </a:cubicBezTo>
                  <a:cubicBezTo>
                    <a:pt x="0" y="1057"/>
                    <a:pt x="173" y="1230"/>
                    <a:pt x="386" y="1230"/>
                  </a:cubicBezTo>
                  <a:cubicBezTo>
                    <a:pt x="585" y="1230"/>
                    <a:pt x="749" y="1079"/>
                    <a:pt x="769" y="885"/>
                  </a:cubicBezTo>
                  <a:cubicBezTo>
                    <a:pt x="911" y="885"/>
                    <a:pt x="911" y="885"/>
                    <a:pt x="911" y="885"/>
                  </a:cubicBezTo>
                  <a:cubicBezTo>
                    <a:pt x="911" y="885"/>
                    <a:pt x="911" y="885"/>
                    <a:pt x="911" y="885"/>
                  </a:cubicBezTo>
                  <a:cubicBezTo>
                    <a:pt x="911" y="885"/>
                    <a:pt x="911" y="885"/>
                    <a:pt x="911" y="885"/>
                  </a:cubicBezTo>
                  <a:cubicBezTo>
                    <a:pt x="912" y="885"/>
                    <a:pt x="912" y="885"/>
                    <a:pt x="912" y="885"/>
                  </a:cubicBezTo>
                  <a:cubicBezTo>
                    <a:pt x="915" y="884"/>
                    <a:pt x="918" y="884"/>
                    <a:pt x="921" y="883"/>
                  </a:cubicBezTo>
                  <a:cubicBezTo>
                    <a:pt x="922" y="883"/>
                    <a:pt x="923" y="883"/>
                    <a:pt x="924" y="883"/>
                  </a:cubicBezTo>
                  <a:cubicBezTo>
                    <a:pt x="926" y="882"/>
                    <a:pt x="928" y="881"/>
                    <a:pt x="931" y="880"/>
                  </a:cubicBezTo>
                  <a:cubicBezTo>
                    <a:pt x="931" y="880"/>
                    <a:pt x="931" y="880"/>
                    <a:pt x="931" y="880"/>
                  </a:cubicBezTo>
                  <a:cubicBezTo>
                    <a:pt x="933" y="879"/>
                    <a:pt x="934" y="878"/>
                    <a:pt x="935" y="877"/>
                  </a:cubicBezTo>
                  <a:cubicBezTo>
                    <a:pt x="936" y="877"/>
                    <a:pt x="937" y="876"/>
                    <a:pt x="938" y="875"/>
                  </a:cubicBezTo>
                  <a:cubicBezTo>
                    <a:pt x="940" y="874"/>
                    <a:pt x="942" y="872"/>
                    <a:pt x="943" y="870"/>
                  </a:cubicBezTo>
                  <a:cubicBezTo>
                    <a:pt x="944" y="870"/>
                    <a:pt x="944" y="870"/>
                    <a:pt x="945" y="869"/>
                  </a:cubicBezTo>
                  <a:cubicBezTo>
                    <a:pt x="945" y="869"/>
                    <a:pt x="945" y="869"/>
                    <a:pt x="945" y="869"/>
                  </a:cubicBezTo>
                  <a:cubicBezTo>
                    <a:pt x="945" y="869"/>
                    <a:pt x="945" y="869"/>
                    <a:pt x="945" y="869"/>
                  </a:cubicBezTo>
                  <a:cubicBezTo>
                    <a:pt x="1341" y="411"/>
                    <a:pt x="1341" y="411"/>
                    <a:pt x="1341" y="411"/>
                  </a:cubicBezTo>
                  <a:cubicBezTo>
                    <a:pt x="1357" y="483"/>
                    <a:pt x="1357" y="483"/>
                    <a:pt x="1357" y="483"/>
                  </a:cubicBezTo>
                  <a:cubicBezTo>
                    <a:pt x="1358" y="486"/>
                    <a:pt x="1358" y="486"/>
                    <a:pt x="1358" y="486"/>
                  </a:cubicBezTo>
                  <a:cubicBezTo>
                    <a:pt x="1359" y="490"/>
                    <a:pt x="1359" y="490"/>
                    <a:pt x="1359" y="490"/>
                  </a:cubicBezTo>
                  <a:cubicBezTo>
                    <a:pt x="1222" y="549"/>
                    <a:pt x="1126" y="685"/>
                    <a:pt x="1126" y="844"/>
                  </a:cubicBezTo>
                  <a:cubicBezTo>
                    <a:pt x="1126" y="1057"/>
                    <a:pt x="1299" y="1230"/>
                    <a:pt x="1512" y="1230"/>
                  </a:cubicBezTo>
                  <a:cubicBezTo>
                    <a:pt x="1725" y="1230"/>
                    <a:pt x="1898" y="1057"/>
                    <a:pt x="1898" y="844"/>
                  </a:cubicBezTo>
                  <a:cubicBezTo>
                    <a:pt x="1898" y="631"/>
                    <a:pt x="1725" y="458"/>
                    <a:pt x="1512" y="458"/>
                  </a:cubicBezTo>
                  <a:close/>
                  <a:moveTo>
                    <a:pt x="652" y="428"/>
                  </a:moveTo>
                  <a:cubicBezTo>
                    <a:pt x="840" y="797"/>
                    <a:pt x="840" y="797"/>
                    <a:pt x="840" y="797"/>
                  </a:cubicBezTo>
                  <a:cubicBezTo>
                    <a:pt x="769" y="797"/>
                    <a:pt x="769" y="797"/>
                    <a:pt x="769" y="797"/>
                  </a:cubicBezTo>
                  <a:cubicBezTo>
                    <a:pt x="755" y="684"/>
                    <a:pt x="692" y="586"/>
                    <a:pt x="602" y="525"/>
                  </a:cubicBezTo>
                  <a:lnTo>
                    <a:pt x="652" y="428"/>
                  </a:lnTo>
                  <a:close/>
                  <a:moveTo>
                    <a:pt x="679" y="798"/>
                  </a:moveTo>
                  <a:cubicBezTo>
                    <a:pt x="459" y="799"/>
                    <a:pt x="459" y="799"/>
                    <a:pt x="459" y="799"/>
                  </a:cubicBezTo>
                  <a:cubicBezTo>
                    <a:pt x="561" y="604"/>
                    <a:pt x="561" y="604"/>
                    <a:pt x="561" y="604"/>
                  </a:cubicBezTo>
                  <a:cubicBezTo>
                    <a:pt x="623" y="649"/>
                    <a:pt x="667" y="718"/>
                    <a:pt x="679" y="798"/>
                  </a:cubicBezTo>
                  <a:close/>
                  <a:moveTo>
                    <a:pt x="386" y="1142"/>
                  </a:moveTo>
                  <a:cubicBezTo>
                    <a:pt x="221" y="1141"/>
                    <a:pt x="88" y="1008"/>
                    <a:pt x="88" y="844"/>
                  </a:cubicBezTo>
                  <a:cubicBezTo>
                    <a:pt x="88" y="680"/>
                    <a:pt x="221" y="547"/>
                    <a:pt x="386" y="546"/>
                  </a:cubicBezTo>
                  <a:cubicBezTo>
                    <a:pt x="420" y="547"/>
                    <a:pt x="452" y="553"/>
                    <a:pt x="483" y="563"/>
                  </a:cubicBezTo>
                  <a:cubicBezTo>
                    <a:pt x="347" y="824"/>
                    <a:pt x="347" y="824"/>
                    <a:pt x="347" y="824"/>
                  </a:cubicBezTo>
                  <a:cubicBezTo>
                    <a:pt x="340" y="837"/>
                    <a:pt x="340" y="854"/>
                    <a:pt x="348" y="867"/>
                  </a:cubicBezTo>
                  <a:cubicBezTo>
                    <a:pt x="356" y="880"/>
                    <a:pt x="371" y="888"/>
                    <a:pt x="386" y="888"/>
                  </a:cubicBezTo>
                  <a:cubicBezTo>
                    <a:pt x="386" y="888"/>
                    <a:pt x="386" y="888"/>
                    <a:pt x="386" y="888"/>
                  </a:cubicBezTo>
                  <a:cubicBezTo>
                    <a:pt x="680" y="886"/>
                    <a:pt x="680" y="886"/>
                    <a:pt x="680" y="886"/>
                  </a:cubicBezTo>
                  <a:cubicBezTo>
                    <a:pt x="659" y="1030"/>
                    <a:pt x="536" y="1141"/>
                    <a:pt x="386" y="1142"/>
                  </a:cubicBezTo>
                  <a:close/>
                  <a:moveTo>
                    <a:pt x="921" y="762"/>
                  </a:moveTo>
                  <a:cubicBezTo>
                    <a:pt x="720" y="366"/>
                    <a:pt x="720" y="366"/>
                    <a:pt x="720" y="366"/>
                  </a:cubicBezTo>
                  <a:cubicBezTo>
                    <a:pt x="1263" y="366"/>
                    <a:pt x="1263" y="366"/>
                    <a:pt x="1263" y="366"/>
                  </a:cubicBezTo>
                  <a:lnTo>
                    <a:pt x="921" y="762"/>
                  </a:lnTo>
                  <a:close/>
                  <a:moveTo>
                    <a:pt x="1512" y="1142"/>
                  </a:moveTo>
                  <a:cubicBezTo>
                    <a:pt x="1348" y="1141"/>
                    <a:pt x="1215" y="1008"/>
                    <a:pt x="1214" y="844"/>
                  </a:cubicBezTo>
                  <a:cubicBezTo>
                    <a:pt x="1215" y="725"/>
                    <a:pt x="1284" y="623"/>
                    <a:pt x="1385" y="575"/>
                  </a:cubicBezTo>
                  <a:cubicBezTo>
                    <a:pt x="1470" y="857"/>
                    <a:pt x="1470" y="857"/>
                    <a:pt x="1470" y="857"/>
                  </a:cubicBezTo>
                  <a:cubicBezTo>
                    <a:pt x="1476" y="876"/>
                    <a:pt x="1493" y="888"/>
                    <a:pt x="1512" y="888"/>
                  </a:cubicBezTo>
                  <a:cubicBezTo>
                    <a:pt x="1516" y="888"/>
                    <a:pt x="1521" y="888"/>
                    <a:pt x="1525" y="886"/>
                  </a:cubicBezTo>
                  <a:cubicBezTo>
                    <a:pt x="1548" y="879"/>
                    <a:pt x="1561" y="855"/>
                    <a:pt x="1554" y="831"/>
                  </a:cubicBezTo>
                  <a:cubicBezTo>
                    <a:pt x="1554" y="831"/>
                    <a:pt x="1554" y="831"/>
                    <a:pt x="1554" y="831"/>
                  </a:cubicBezTo>
                  <a:cubicBezTo>
                    <a:pt x="1469" y="550"/>
                    <a:pt x="1469" y="550"/>
                    <a:pt x="1469" y="550"/>
                  </a:cubicBezTo>
                  <a:cubicBezTo>
                    <a:pt x="1483" y="548"/>
                    <a:pt x="1497" y="547"/>
                    <a:pt x="1512" y="546"/>
                  </a:cubicBezTo>
                  <a:cubicBezTo>
                    <a:pt x="1676" y="547"/>
                    <a:pt x="1809" y="680"/>
                    <a:pt x="1810" y="844"/>
                  </a:cubicBezTo>
                  <a:cubicBezTo>
                    <a:pt x="1809" y="1008"/>
                    <a:pt x="1676" y="1141"/>
                    <a:pt x="1512" y="1142"/>
                  </a:cubicBezTo>
                  <a:close/>
                </a:path>
              </a:pathLst>
            </a:cu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234" name="Freeform 6"/>
          <p:cNvSpPr>
            <a:spLocks/>
          </p:cNvSpPr>
          <p:nvPr/>
        </p:nvSpPr>
        <p:spPr bwMode="auto">
          <a:xfrm flipH="1">
            <a:off x="10915242" y="4368096"/>
            <a:ext cx="941476" cy="588588"/>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Calibri" panose="020F0502020204030204"/>
            </a:endParaRPr>
          </a:p>
        </p:txBody>
      </p:sp>
      <p:grpSp>
        <p:nvGrpSpPr>
          <p:cNvPr id="244" name="Group 243"/>
          <p:cNvGrpSpPr/>
          <p:nvPr/>
        </p:nvGrpSpPr>
        <p:grpSpPr>
          <a:xfrm>
            <a:off x="9115653" y="5958417"/>
            <a:ext cx="983624" cy="603885"/>
            <a:chOff x="9569763" y="4967623"/>
            <a:chExt cx="1374321" cy="843750"/>
          </a:xfrm>
        </p:grpSpPr>
        <p:grpSp>
          <p:nvGrpSpPr>
            <p:cNvPr id="245" name="Group 244"/>
            <p:cNvGrpSpPr/>
            <p:nvPr/>
          </p:nvGrpSpPr>
          <p:grpSpPr>
            <a:xfrm>
              <a:off x="9569763" y="5074261"/>
              <a:ext cx="1374321" cy="737112"/>
              <a:chOff x="5728342" y="5129758"/>
              <a:chExt cx="1048955" cy="562603"/>
            </a:xfrm>
          </p:grpSpPr>
          <p:sp>
            <p:nvSpPr>
              <p:cNvPr id="247"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sp>
            <p:nvSpPr>
              <p:cNvPr id="248"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grpSp>
        <p:pic>
          <p:nvPicPr>
            <p:cNvPr id="246" name="Picture 245"/>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49" name="Group 248"/>
          <p:cNvGrpSpPr/>
          <p:nvPr/>
        </p:nvGrpSpPr>
        <p:grpSpPr>
          <a:xfrm>
            <a:off x="10856774" y="5602484"/>
            <a:ext cx="397853" cy="684305"/>
            <a:chOff x="10573591" y="4721486"/>
            <a:chExt cx="515205" cy="886151"/>
          </a:xfrm>
        </p:grpSpPr>
        <p:grpSp>
          <p:nvGrpSpPr>
            <p:cNvPr id="250" name="Group 249"/>
            <p:cNvGrpSpPr/>
            <p:nvPr/>
          </p:nvGrpSpPr>
          <p:grpSpPr>
            <a:xfrm>
              <a:off x="10573591" y="4721486"/>
              <a:ext cx="515205" cy="886151"/>
              <a:chOff x="6416654" y="4806210"/>
              <a:chExt cx="515205" cy="886151"/>
            </a:xfrm>
          </p:grpSpPr>
          <p:sp>
            <p:nvSpPr>
              <p:cNvPr id="253"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sp>
            <p:nvSpPr>
              <p:cNvPr id="257"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505050"/>
                  </a:solidFill>
                  <a:effectLst/>
                  <a:uLnTx/>
                  <a:uFillTx/>
                </a:endParaRPr>
              </a:p>
            </p:txBody>
          </p:sp>
        </p:grpSp>
        <p:pic>
          <p:nvPicPr>
            <p:cNvPr id="251" name="Picture 250"/>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58" name="Group 257"/>
          <p:cNvGrpSpPr/>
          <p:nvPr/>
        </p:nvGrpSpPr>
        <p:grpSpPr>
          <a:xfrm>
            <a:off x="11402314" y="6080293"/>
            <a:ext cx="804213" cy="508142"/>
            <a:chOff x="10944081" y="5157606"/>
            <a:chExt cx="1010147" cy="638261"/>
          </a:xfrm>
        </p:grpSpPr>
        <p:grpSp>
          <p:nvGrpSpPr>
            <p:cNvPr id="259" name="Group 258"/>
            <p:cNvGrpSpPr/>
            <p:nvPr/>
          </p:nvGrpSpPr>
          <p:grpSpPr>
            <a:xfrm>
              <a:off x="10944081" y="5157606"/>
              <a:ext cx="1010147" cy="638261"/>
              <a:chOff x="9923939" y="904037"/>
              <a:chExt cx="724336" cy="457671"/>
            </a:xfrm>
          </p:grpSpPr>
          <p:sp>
            <p:nvSpPr>
              <p:cNvPr id="261"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endParaRPr>
              </a:p>
            </p:txBody>
          </p:sp>
          <p:sp>
            <p:nvSpPr>
              <p:cNvPr id="262"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rgbClr val="000000"/>
                  </a:solidFill>
                  <a:effectLst/>
                  <a:uLnTx/>
                  <a:uFillTx/>
                </a:endParaRPr>
              </a:p>
            </p:txBody>
          </p:sp>
        </p:grpSp>
        <p:pic>
          <p:nvPicPr>
            <p:cNvPr id="260" name="Picture 259"/>
            <p:cNvPicPr>
              <a:picLocks noChangeAspect="1"/>
            </p:cNvPicPr>
            <p:nvPr/>
          </p:nvPicPr>
          <p:blipFill rotWithShape="1">
            <a:blip r:embed="rId1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9" name="Oval 8"/>
          <p:cNvSpPr/>
          <p:nvPr/>
        </p:nvSpPr>
        <p:spPr bwMode="auto">
          <a:xfrm>
            <a:off x="10703663" y="4844301"/>
            <a:ext cx="185982" cy="185982"/>
          </a:xfrm>
          <a:prstGeom prst="ellipse">
            <a:avLst/>
          </a:prstGeom>
          <a:solidFill>
            <a:srgbClr val="C9F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3" name="Oval 262"/>
          <p:cNvSpPr/>
          <p:nvPr/>
        </p:nvSpPr>
        <p:spPr bwMode="auto">
          <a:xfrm>
            <a:off x="10517578" y="4949860"/>
            <a:ext cx="143908" cy="143908"/>
          </a:xfrm>
          <a:prstGeom prst="ellipse">
            <a:avLst/>
          </a:prstGeom>
          <a:solidFill>
            <a:srgbClr val="C9F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10955291" y="4466204"/>
            <a:ext cx="816477" cy="555610"/>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t>
            </a:r>
          </a:p>
        </p:txBody>
      </p:sp>
    </p:spTree>
    <p:extLst>
      <p:ext uri="{BB962C8B-B14F-4D97-AF65-F5344CB8AC3E}">
        <p14:creationId xmlns:p14="http://schemas.microsoft.com/office/powerpoint/2010/main" val="62713685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p:cNvSpPr/>
          <p:nvPr/>
        </p:nvSpPr>
        <p:spPr bwMode="auto">
          <a:xfrm>
            <a:off x="-1179" y="1135062"/>
            <a:ext cx="12437653" cy="1235693"/>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a:t>Introducing Azure SQL DW Service</a:t>
            </a:r>
            <a:endParaRPr lang="en-US" dirty="0"/>
          </a:p>
        </p:txBody>
      </p:sp>
      <p:sp>
        <p:nvSpPr>
          <p:cNvPr id="3" name="21 INE 1"/>
          <p:cNvSpPr/>
          <p:nvPr/>
        </p:nvSpPr>
        <p:spPr bwMode="auto">
          <a:xfrm>
            <a:off x="3285466" y="2743298"/>
            <a:ext cx="1269819"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96" b="0" i="0" u="none" strike="noStrike" kern="0" cap="none" spc="0" normalizeH="0" baseline="0" noProof="0">
              <a:ln>
                <a:noFill/>
              </a:ln>
              <a:solidFill>
                <a:srgbClr val="FFFFFF"/>
              </a:solidFill>
              <a:effectLst/>
              <a:uLnTx/>
              <a:uFillTx/>
              <a:latin typeface="Segoe UI"/>
              <a:ea typeface="+mn-ea"/>
              <a:cs typeface="+mn-cs"/>
            </a:endParaRPr>
          </a:p>
        </p:txBody>
      </p:sp>
      <p:sp>
        <p:nvSpPr>
          <p:cNvPr id="4" name="Text Placeholder 2"/>
          <p:cNvSpPr txBox="1">
            <a:spLocks/>
          </p:cNvSpPr>
          <p:nvPr/>
        </p:nvSpPr>
        <p:spPr>
          <a:xfrm>
            <a:off x="275465" y="1213166"/>
            <a:ext cx="11887877" cy="115758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A relational </a:t>
            </a:r>
            <a:r>
              <a:rPr kumimoji="0" lang="en-US" sz="2000" b="0" i="0" u="none" strike="noStrike" kern="1200" cap="none" spc="0" normalizeH="0" baseline="0" noProof="0" dirty="0">
                <a:ln>
                  <a:noFill/>
                </a:ln>
                <a:solidFill>
                  <a:srgbClr val="FFFFFF"/>
                </a:solidFill>
                <a:effectLst/>
                <a:uLnTx/>
                <a:uFillTx/>
                <a:latin typeface="Segoe UI"/>
                <a:ea typeface="+mn-ea"/>
                <a:cs typeface="+mn-cs"/>
              </a:rPr>
              <a:t>data warehouse-as-a-service</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 fully managed by Microsoft. </a:t>
            </a:r>
          </a:p>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Industries first </a:t>
            </a:r>
            <a:r>
              <a:rPr kumimoji="0" lang="en-US" sz="2000" b="0" i="0" u="none" strike="noStrike" kern="1200" cap="none" spc="0" normalizeH="0" baseline="0" noProof="0" dirty="0">
                <a:ln>
                  <a:noFill/>
                </a:ln>
                <a:solidFill>
                  <a:srgbClr val="FFFFFF"/>
                </a:solidFill>
                <a:effectLst/>
                <a:uLnTx/>
                <a:uFillTx/>
                <a:latin typeface="Segoe UI"/>
                <a:ea typeface="+mn-ea"/>
                <a:cs typeface="+mn-cs"/>
              </a:rPr>
              <a:t>elastic</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 cloud data warehouse with proven SQL Server capabilities.</a:t>
            </a:r>
          </a:p>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Support your </a:t>
            </a:r>
            <a:r>
              <a:rPr kumimoji="0" lang="en-US" sz="2000" b="0" i="0" u="none" strike="noStrike" kern="1200" cap="none" spc="0" normalizeH="0" baseline="0" noProof="0" dirty="0">
                <a:ln>
                  <a:noFill/>
                </a:ln>
                <a:solidFill>
                  <a:srgbClr val="FFFFFF"/>
                </a:solidFill>
                <a:effectLst/>
                <a:uLnTx/>
                <a:uFillTx/>
                <a:latin typeface="Segoe UI"/>
                <a:ea typeface="+mn-ea"/>
                <a:cs typeface="+mn-cs"/>
              </a:rPr>
              <a:t>smallest to your largest</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 data storage need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 name="Group 2"/>
          <p:cNvGrpSpPr/>
          <p:nvPr/>
        </p:nvGrpSpPr>
        <p:grpSpPr>
          <a:xfrm>
            <a:off x="-1179" y="6648512"/>
            <a:ext cx="12437653" cy="353950"/>
            <a:chOff x="2577137" y="4571778"/>
            <a:chExt cx="9101124" cy="1390560"/>
          </a:xfrm>
        </p:grpSpPr>
        <p:sp>
          <p:nvSpPr>
            <p:cNvPr id="6" name="TextBox 5"/>
            <p:cNvSpPr txBox="1"/>
            <p:nvPr/>
          </p:nvSpPr>
          <p:spPr>
            <a:xfrm>
              <a:off x="2577137" y="4571778"/>
              <a:ext cx="3034890" cy="1390458"/>
            </a:xfrm>
            <a:prstGeom prst="rect">
              <a:avLst/>
            </a:prstGeom>
            <a:solidFill>
              <a:srgbClr val="0072C6"/>
            </a:solidFill>
          </p:spPr>
          <p:txBody>
            <a:bodyPr wrap="square" lIns="457135" tIns="137141" rIns="365708" rtlCol="0">
              <a:noAutofit/>
            </a:bodyPr>
            <a:lstStyle/>
            <a:p>
              <a:pPr marL="0" marR="0" lvl="0" indent="0" algn="l" defTabSz="932742"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rgbClr val="002050"/>
            </a:solidFill>
          </p:spPr>
          <p:txBody>
            <a:bodyPr wrap="square" lIns="457135" tIns="137141" rIns="639989" rtlCol="0">
              <a:noAutofit/>
            </a:bodyPr>
            <a:lstStyle/>
            <a:p>
              <a:pPr marL="0" marR="0" lvl="0" indent="0" algn="l" defTabSz="913774"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grpSp>
        <p:nvGrpSpPr>
          <p:cNvPr id="10" name="1 GEAR"/>
          <p:cNvGrpSpPr/>
          <p:nvPr/>
        </p:nvGrpSpPr>
        <p:grpSpPr>
          <a:xfrm>
            <a:off x="3651908" y="2449618"/>
            <a:ext cx="676257" cy="704819"/>
            <a:chOff x="3427632" y="3858620"/>
            <a:chExt cx="676353" cy="704919"/>
          </a:xfrm>
        </p:grpSpPr>
        <p:sp>
          <p:nvSpPr>
            <p:cNvPr id="11" name="Oval 10"/>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98"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nvGrpSpPr>
            <p:cNvPr id="12" name="Group 11"/>
            <p:cNvGrpSpPr/>
            <p:nvPr/>
          </p:nvGrpSpPr>
          <p:grpSpPr>
            <a:xfrm>
              <a:off x="3427632" y="3858620"/>
              <a:ext cx="676353" cy="704919"/>
              <a:chOff x="14154282" y="2732561"/>
              <a:chExt cx="1671361" cy="1714515"/>
            </a:xfrm>
          </p:grpSpPr>
          <p:sp>
            <p:nvSpPr>
              <p:cNvPr id="13" name="Freeform 12"/>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14" name="Oval 13"/>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15" name="Rectangle 14"/>
          <p:cNvSpPr/>
          <p:nvPr/>
        </p:nvSpPr>
        <p:spPr bwMode="auto">
          <a:xfrm>
            <a:off x="176203" y="2456194"/>
            <a:ext cx="3308425" cy="55019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lastic scale &amp; performance</a:t>
            </a:r>
          </a:p>
        </p:txBody>
      </p:sp>
      <p:sp>
        <p:nvSpPr>
          <p:cNvPr id="16" name="TextBox 15"/>
          <p:cNvSpPr txBox="1"/>
          <p:nvPr/>
        </p:nvSpPr>
        <p:spPr>
          <a:xfrm>
            <a:off x="884401" y="4858230"/>
            <a:ext cx="3404057" cy="1547896"/>
          </a:xfrm>
          <a:prstGeom prst="rect">
            <a:avLst/>
          </a:prstGeom>
          <a:noFill/>
          <a:ln>
            <a:noFill/>
          </a:ln>
        </p:spPr>
        <p:txBody>
          <a:bodyPr wrap="square" lIns="182854" tIns="146284" rIns="182854" bIns="146284" rtlCol="0">
            <a:spAutoFit/>
          </a:bodyPr>
          <a:lstStyle/>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ales to petabytes of data</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assively Parallel Processing</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stant-on compute scales in seconds</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Query Relational / Non-Relational</a:t>
            </a:r>
          </a:p>
        </p:txBody>
      </p:sp>
      <p:grpSp>
        <p:nvGrpSpPr>
          <p:cNvPr id="17" name="Group 16"/>
          <p:cNvGrpSpPr>
            <a:grpSpLocks noChangeAspect="1"/>
          </p:cNvGrpSpPr>
          <p:nvPr/>
        </p:nvGrpSpPr>
        <p:grpSpPr>
          <a:xfrm>
            <a:off x="266832" y="3139581"/>
            <a:ext cx="1160743" cy="1928722"/>
            <a:chOff x="2066845" y="1140049"/>
            <a:chExt cx="550302" cy="914400"/>
          </a:xfrm>
          <a:solidFill>
            <a:schemeClr val="accent4"/>
          </a:solidFill>
        </p:grpSpPr>
        <p:sp>
          <p:nvSpPr>
            <p:cNvPr id="18"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19"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20"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grpSp>
      <p:grpSp>
        <p:nvGrpSpPr>
          <p:cNvPr id="21" name="Group 20"/>
          <p:cNvGrpSpPr>
            <a:grpSpLocks noChangeAspect="1"/>
          </p:cNvGrpSpPr>
          <p:nvPr/>
        </p:nvGrpSpPr>
        <p:grpSpPr>
          <a:xfrm>
            <a:off x="1580737" y="3182459"/>
            <a:ext cx="610571" cy="1014541"/>
            <a:chOff x="2066845" y="1140049"/>
            <a:chExt cx="550302" cy="914400"/>
          </a:xfrm>
          <a:solidFill>
            <a:schemeClr val="accent4"/>
          </a:solidFill>
        </p:grpSpPr>
        <p:sp>
          <p:nvSpPr>
            <p:cNvPr id="22" name="Freeform 22"/>
            <p:cNvSpPr>
              <a:spLocks/>
            </p:cNvSpPr>
            <p:nvPr/>
          </p:nvSpPr>
          <p:spPr bwMode="auto">
            <a:xfrm>
              <a:off x="2275580" y="1140049"/>
              <a:ext cx="341567" cy="709514"/>
            </a:xfrm>
            <a:custGeom>
              <a:avLst/>
              <a:gdLst>
                <a:gd name="T0" fmla="*/ 0 w 180"/>
                <a:gd name="T1" fmla="*/ 0 h 374"/>
                <a:gd name="T2" fmla="*/ 0 w 180"/>
                <a:gd name="T3" fmla="*/ 47 h 374"/>
                <a:gd name="T4" fmla="*/ 23 w 180"/>
                <a:gd name="T5" fmla="*/ 47 h 374"/>
                <a:gd name="T6" fmla="*/ 23 w 180"/>
                <a:gd name="T7" fmla="*/ 35 h 374"/>
                <a:gd name="T8" fmla="*/ 156 w 180"/>
                <a:gd name="T9" fmla="*/ 35 h 374"/>
                <a:gd name="T10" fmla="*/ 156 w 180"/>
                <a:gd name="T11" fmla="*/ 56 h 374"/>
                <a:gd name="T12" fmla="*/ 133 w 180"/>
                <a:gd name="T13" fmla="*/ 56 h 374"/>
                <a:gd name="T14" fmla="*/ 133 w 180"/>
                <a:gd name="T15" fmla="*/ 74 h 374"/>
                <a:gd name="T16" fmla="*/ 156 w 180"/>
                <a:gd name="T17" fmla="*/ 74 h 374"/>
                <a:gd name="T18" fmla="*/ 156 w 180"/>
                <a:gd name="T19" fmla="*/ 96 h 374"/>
                <a:gd name="T20" fmla="*/ 133 w 180"/>
                <a:gd name="T21" fmla="*/ 96 h 374"/>
                <a:gd name="T22" fmla="*/ 133 w 180"/>
                <a:gd name="T23" fmla="*/ 113 h 374"/>
                <a:gd name="T24" fmla="*/ 156 w 180"/>
                <a:gd name="T25" fmla="*/ 113 h 374"/>
                <a:gd name="T26" fmla="*/ 156 w 180"/>
                <a:gd name="T27" fmla="*/ 134 h 374"/>
                <a:gd name="T28" fmla="*/ 133 w 180"/>
                <a:gd name="T29" fmla="*/ 134 h 374"/>
                <a:gd name="T30" fmla="*/ 133 w 180"/>
                <a:gd name="T31" fmla="*/ 150 h 374"/>
                <a:gd name="T32" fmla="*/ 156 w 180"/>
                <a:gd name="T33" fmla="*/ 150 h 374"/>
                <a:gd name="T34" fmla="*/ 156 w 180"/>
                <a:gd name="T35" fmla="*/ 173 h 374"/>
                <a:gd name="T36" fmla="*/ 133 w 180"/>
                <a:gd name="T37" fmla="*/ 173 h 374"/>
                <a:gd name="T38" fmla="*/ 133 w 180"/>
                <a:gd name="T39" fmla="*/ 374 h 374"/>
                <a:gd name="T40" fmla="*/ 180 w 180"/>
                <a:gd name="T41" fmla="*/ 374 h 374"/>
                <a:gd name="T42" fmla="*/ 180 w 180"/>
                <a:gd name="T43" fmla="*/ 0 h 374"/>
                <a:gd name="T44" fmla="*/ 0 w 180"/>
                <a:gd name="T45"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0" h="374">
                  <a:moveTo>
                    <a:pt x="0" y="0"/>
                  </a:moveTo>
                  <a:lnTo>
                    <a:pt x="0" y="47"/>
                  </a:lnTo>
                  <a:lnTo>
                    <a:pt x="23" y="47"/>
                  </a:lnTo>
                  <a:lnTo>
                    <a:pt x="23" y="35"/>
                  </a:lnTo>
                  <a:lnTo>
                    <a:pt x="156" y="35"/>
                  </a:lnTo>
                  <a:lnTo>
                    <a:pt x="156" y="56"/>
                  </a:lnTo>
                  <a:lnTo>
                    <a:pt x="133" y="56"/>
                  </a:lnTo>
                  <a:lnTo>
                    <a:pt x="133" y="74"/>
                  </a:lnTo>
                  <a:lnTo>
                    <a:pt x="156" y="74"/>
                  </a:lnTo>
                  <a:lnTo>
                    <a:pt x="156" y="96"/>
                  </a:lnTo>
                  <a:lnTo>
                    <a:pt x="133" y="96"/>
                  </a:lnTo>
                  <a:lnTo>
                    <a:pt x="133" y="113"/>
                  </a:lnTo>
                  <a:lnTo>
                    <a:pt x="156" y="113"/>
                  </a:lnTo>
                  <a:lnTo>
                    <a:pt x="156" y="134"/>
                  </a:lnTo>
                  <a:lnTo>
                    <a:pt x="133" y="134"/>
                  </a:lnTo>
                  <a:lnTo>
                    <a:pt x="133" y="150"/>
                  </a:lnTo>
                  <a:lnTo>
                    <a:pt x="156" y="150"/>
                  </a:lnTo>
                  <a:lnTo>
                    <a:pt x="156" y="173"/>
                  </a:lnTo>
                  <a:lnTo>
                    <a:pt x="133" y="173"/>
                  </a:lnTo>
                  <a:lnTo>
                    <a:pt x="133" y="374"/>
                  </a:lnTo>
                  <a:lnTo>
                    <a:pt x="180" y="374"/>
                  </a:lnTo>
                  <a:lnTo>
                    <a:pt x="180"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23" name="Freeform 342"/>
            <p:cNvSpPr>
              <a:spLocks/>
            </p:cNvSpPr>
            <p:nvPr/>
          </p:nvSpPr>
          <p:spPr bwMode="auto">
            <a:xfrm>
              <a:off x="2169314" y="1242493"/>
              <a:ext cx="341567" cy="709514"/>
            </a:xfrm>
            <a:custGeom>
              <a:avLst/>
              <a:gdLst>
                <a:gd name="T0" fmla="*/ 0 w 179"/>
                <a:gd name="T1" fmla="*/ 0 h 375"/>
                <a:gd name="T2" fmla="*/ 0 w 179"/>
                <a:gd name="T3" fmla="*/ 47 h 375"/>
                <a:gd name="T4" fmla="*/ 24 w 179"/>
                <a:gd name="T5" fmla="*/ 47 h 375"/>
                <a:gd name="T6" fmla="*/ 24 w 179"/>
                <a:gd name="T7" fmla="*/ 35 h 375"/>
                <a:gd name="T8" fmla="*/ 157 w 179"/>
                <a:gd name="T9" fmla="*/ 35 h 375"/>
                <a:gd name="T10" fmla="*/ 157 w 179"/>
                <a:gd name="T11" fmla="*/ 56 h 375"/>
                <a:gd name="T12" fmla="*/ 133 w 179"/>
                <a:gd name="T13" fmla="*/ 56 h 375"/>
                <a:gd name="T14" fmla="*/ 133 w 179"/>
                <a:gd name="T15" fmla="*/ 75 h 375"/>
                <a:gd name="T16" fmla="*/ 157 w 179"/>
                <a:gd name="T17" fmla="*/ 75 h 375"/>
                <a:gd name="T18" fmla="*/ 157 w 179"/>
                <a:gd name="T19" fmla="*/ 96 h 375"/>
                <a:gd name="T20" fmla="*/ 133 w 179"/>
                <a:gd name="T21" fmla="*/ 96 h 375"/>
                <a:gd name="T22" fmla="*/ 133 w 179"/>
                <a:gd name="T23" fmla="*/ 113 h 375"/>
                <a:gd name="T24" fmla="*/ 157 w 179"/>
                <a:gd name="T25" fmla="*/ 113 h 375"/>
                <a:gd name="T26" fmla="*/ 157 w 179"/>
                <a:gd name="T27" fmla="*/ 135 h 375"/>
                <a:gd name="T28" fmla="*/ 133 w 179"/>
                <a:gd name="T29" fmla="*/ 135 h 375"/>
                <a:gd name="T30" fmla="*/ 133 w 179"/>
                <a:gd name="T31" fmla="*/ 152 h 375"/>
                <a:gd name="T32" fmla="*/ 157 w 179"/>
                <a:gd name="T33" fmla="*/ 152 h 375"/>
                <a:gd name="T34" fmla="*/ 157 w 179"/>
                <a:gd name="T35" fmla="*/ 173 h 375"/>
                <a:gd name="T36" fmla="*/ 133 w 179"/>
                <a:gd name="T37" fmla="*/ 173 h 375"/>
                <a:gd name="T38" fmla="*/ 133 w 179"/>
                <a:gd name="T39" fmla="*/ 375 h 375"/>
                <a:gd name="T40" fmla="*/ 179 w 179"/>
                <a:gd name="T41" fmla="*/ 375 h 375"/>
                <a:gd name="T42" fmla="*/ 179 w 179"/>
                <a:gd name="T43" fmla="*/ 0 h 375"/>
                <a:gd name="T44" fmla="*/ 0 w 179"/>
                <a:gd name="T45"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375">
                  <a:moveTo>
                    <a:pt x="0" y="0"/>
                  </a:moveTo>
                  <a:lnTo>
                    <a:pt x="0" y="47"/>
                  </a:lnTo>
                  <a:lnTo>
                    <a:pt x="24" y="47"/>
                  </a:lnTo>
                  <a:lnTo>
                    <a:pt x="24" y="35"/>
                  </a:lnTo>
                  <a:lnTo>
                    <a:pt x="157" y="35"/>
                  </a:lnTo>
                  <a:lnTo>
                    <a:pt x="157" y="56"/>
                  </a:lnTo>
                  <a:lnTo>
                    <a:pt x="133" y="56"/>
                  </a:lnTo>
                  <a:lnTo>
                    <a:pt x="133" y="75"/>
                  </a:lnTo>
                  <a:lnTo>
                    <a:pt x="157" y="75"/>
                  </a:lnTo>
                  <a:lnTo>
                    <a:pt x="157" y="96"/>
                  </a:lnTo>
                  <a:lnTo>
                    <a:pt x="133" y="96"/>
                  </a:lnTo>
                  <a:lnTo>
                    <a:pt x="133" y="113"/>
                  </a:lnTo>
                  <a:lnTo>
                    <a:pt x="157" y="113"/>
                  </a:lnTo>
                  <a:lnTo>
                    <a:pt x="157" y="135"/>
                  </a:lnTo>
                  <a:lnTo>
                    <a:pt x="133" y="135"/>
                  </a:lnTo>
                  <a:lnTo>
                    <a:pt x="133" y="152"/>
                  </a:lnTo>
                  <a:lnTo>
                    <a:pt x="157" y="152"/>
                  </a:lnTo>
                  <a:lnTo>
                    <a:pt x="157" y="173"/>
                  </a:lnTo>
                  <a:lnTo>
                    <a:pt x="133" y="173"/>
                  </a:lnTo>
                  <a:lnTo>
                    <a:pt x="133" y="375"/>
                  </a:lnTo>
                  <a:lnTo>
                    <a:pt x="179" y="375"/>
                  </a:lnTo>
                  <a:lnTo>
                    <a:pt x="179" y="0"/>
                  </a:lnTo>
                  <a:lnTo>
                    <a:pt x="0" y="0"/>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24" name="Freeform 343"/>
            <p:cNvSpPr>
              <a:spLocks noEditPoints="1"/>
            </p:cNvSpPr>
            <p:nvPr/>
          </p:nvSpPr>
          <p:spPr bwMode="auto">
            <a:xfrm>
              <a:off x="2066845" y="1344935"/>
              <a:ext cx="345364" cy="709514"/>
            </a:xfrm>
            <a:custGeom>
              <a:avLst/>
              <a:gdLst>
                <a:gd name="T0" fmla="*/ 0 w 181"/>
                <a:gd name="T1" fmla="*/ 0 h 373"/>
                <a:gd name="T2" fmla="*/ 0 w 181"/>
                <a:gd name="T3" fmla="*/ 373 h 373"/>
                <a:gd name="T4" fmla="*/ 181 w 181"/>
                <a:gd name="T5" fmla="*/ 373 h 373"/>
                <a:gd name="T6" fmla="*/ 181 w 181"/>
                <a:gd name="T7" fmla="*/ 0 h 373"/>
                <a:gd name="T8" fmla="*/ 0 w 181"/>
                <a:gd name="T9" fmla="*/ 0 h 373"/>
                <a:gd name="T10" fmla="*/ 157 w 181"/>
                <a:gd name="T11" fmla="*/ 173 h 373"/>
                <a:gd name="T12" fmla="*/ 24 w 181"/>
                <a:gd name="T13" fmla="*/ 173 h 373"/>
                <a:gd name="T14" fmla="*/ 24 w 181"/>
                <a:gd name="T15" fmla="*/ 151 h 373"/>
                <a:gd name="T16" fmla="*/ 157 w 181"/>
                <a:gd name="T17" fmla="*/ 151 h 373"/>
                <a:gd name="T18" fmla="*/ 157 w 181"/>
                <a:gd name="T19" fmla="*/ 173 h 373"/>
                <a:gd name="T20" fmla="*/ 157 w 181"/>
                <a:gd name="T21" fmla="*/ 134 h 373"/>
                <a:gd name="T22" fmla="*/ 24 w 181"/>
                <a:gd name="T23" fmla="*/ 134 h 373"/>
                <a:gd name="T24" fmla="*/ 24 w 181"/>
                <a:gd name="T25" fmla="*/ 113 h 373"/>
                <a:gd name="T26" fmla="*/ 157 w 181"/>
                <a:gd name="T27" fmla="*/ 113 h 373"/>
                <a:gd name="T28" fmla="*/ 157 w 181"/>
                <a:gd name="T29" fmla="*/ 134 h 373"/>
                <a:gd name="T30" fmla="*/ 157 w 181"/>
                <a:gd name="T31" fmla="*/ 95 h 373"/>
                <a:gd name="T32" fmla="*/ 24 w 181"/>
                <a:gd name="T33" fmla="*/ 95 h 373"/>
                <a:gd name="T34" fmla="*/ 24 w 181"/>
                <a:gd name="T35" fmla="*/ 74 h 373"/>
                <a:gd name="T36" fmla="*/ 157 w 181"/>
                <a:gd name="T37" fmla="*/ 74 h 373"/>
                <a:gd name="T38" fmla="*/ 157 w 181"/>
                <a:gd name="T39" fmla="*/ 95 h 373"/>
                <a:gd name="T40" fmla="*/ 157 w 181"/>
                <a:gd name="T41" fmla="*/ 56 h 373"/>
                <a:gd name="T42" fmla="*/ 24 w 181"/>
                <a:gd name="T43" fmla="*/ 56 h 373"/>
                <a:gd name="T44" fmla="*/ 24 w 181"/>
                <a:gd name="T45" fmla="*/ 34 h 373"/>
                <a:gd name="T46" fmla="*/ 157 w 181"/>
                <a:gd name="T47" fmla="*/ 34 h 373"/>
                <a:gd name="T48" fmla="*/ 157 w 181"/>
                <a:gd name="T49"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373">
                  <a:moveTo>
                    <a:pt x="0" y="0"/>
                  </a:moveTo>
                  <a:lnTo>
                    <a:pt x="0" y="373"/>
                  </a:lnTo>
                  <a:lnTo>
                    <a:pt x="181" y="373"/>
                  </a:lnTo>
                  <a:lnTo>
                    <a:pt x="181" y="0"/>
                  </a:lnTo>
                  <a:lnTo>
                    <a:pt x="0" y="0"/>
                  </a:lnTo>
                  <a:close/>
                  <a:moveTo>
                    <a:pt x="157" y="173"/>
                  </a:moveTo>
                  <a:lnTo>
                    <a:pt x="24" y="173"/>
                  </a:lnTo>
                  <a:lnTo>
                    <a:pt x="24" y="151"/>
                  </a:lnTo>
                  <a:lnTo>
                    <a:pt x="157" y="151"/>
                  </a:lnTo>
                  <a:lnTo>
                    <a:pt x="157" y="173"/>
                  </a:lnTo>
                  <a:close/>
                  <a:moveTo>
                    <a:pt x="157" y="134"/>
                  </a:moveTo>
                  <a:lnTo>
                    <a:pt x="24" y="134"/>
                  </a:lnTo>
                  <a:lnTo>
                    <a:pt x="24" y="113"/>
                  </a:lnTo>
                  <a:lnTo>
                    <a:pt x="157" y="113"/>
                  </a:lnTo>
                  <a:lnTo>
                    <a:pt x="157" y="134"/>
                  </a:lnTo>
                  <a:close/>
                  <a:moveTo>
                    <a:pt x="157" y="95"/>
                  </a:moveTo>
                  <a:lnTo>
                    <a:pt x="24" y="95"/>
                  </a:lnTo>
                  <a:lnTo>
                    <a:pt x="24" y="74"/>
                  </a:lnTo>
                  <a:lnTo>
                    <a:pt x="157" y="74"/>
                  </a:lnTo>
                  <a:lnTo>
                    <a:pt x="157" y="95"/>
                  </a:lnTo>
                  <a:close/>
                  <a:moveTo>
                    <a:pt x="157" y="56"/>
                  </a:moveTo>
                  <a:lnTo>
                    <a:pt x="24" y="56"/>
                  </a:lnTo>
                  <a:lnTo>
                    <a:pt x="24" y="34"/>
                  </a:lnTo>
                  <a:lnTo>
                    <a:pt x="157" y="34"/>
                  </a:lnTo>
                  <a:lnTo>
                    <a:pt x="157" y="56"/>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grpSp>
      <p:sp>
        <p:nvSpPr>
          <p:cNvPr id="25" name="2 LINE 2"/>
          <p:cNvSpPr/>
          <p:nvPr/>
        </p:nvSpPr>
        <p:spPr bwMode="auto">
          <a:xfrm flipH="1">
            <a:off x="7232405" y="2743298"/>
            <a:ext cx="1269819" cy="829615"/>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57150" cap="flat" cmpd="sng" algn="ctr">
            <a:solidFill>
              <a:srgbClr val="DD5900"/>
            </a:solidFill>
            <a:prstDash val="solid"/>
            <a:headEnd type="none" w="med" len="med"/>
            <a:tailEnd type="none" w="med" len="me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96" b="0" i="0" u="none" strike="noStrike" kern="0" cap="none" spc="0" normalizeH="0" baseline="0" noProof="0">
              <a:ln>
                <a:noFill/>
              </a:ln>
              <a:solidFill>
                <a:srgbClr val="FFFFFF"/>
              </a:solidFill>
              <a:effectLst/>
              <a:uLnTx/>
              <a:uFillTx/>
              <a:latin typeface="Segoe UI"/>
              <a:ea typeface="+mn-ea"/>
              <a:cs typeface="+mn-cs"/>
            </a:endParaRPr>
          </a:p>
        </p:txBody>
      </p:sp>
      <p:grpSp>
        <p:nvGrpSpPr>
          <p:cNvPr id="26" name="2 GEAR"/>
          <p:cNvGrpSpPr/>
          <p:nvPr/>
        </p:nvGrpSpPr>
        <p:grpSpPr>
          <a:xfrm>
            <a:off x="7485002" y="2469332"/>
            <a:ext cx="676257" cy="704819"/>
            <a:chOff x="3427632" y="3858620"/>
            <a:chExt cx="676353" cy="704919"/>
          </a:xfrm>
        </p:grpSpPr>
        <p:sp>
          <p:nvSpPr>
            <p:cNvPr id="27" name="Oval 26"/>
            <p:cNvSpPr/>
            <p:nvPr/>
          </p:nvSpPr>
          <p:spPr bwMode="auto">
            <a:xfrm>
              <a:off x="3647037" y="4038061"/>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19"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98"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nvGrpSpPr>
            <p:cNvPr id="28" name="Group 27"/>
            <p:cNvGrpSpPr/>
            <p:nvPr/>
          </p:nvGrpSpPr>
          <p:grpSpPr>
            <a:xfrm>
              <a:off x="3427632" y="3858620"/>
              <a:ext cx="676353" cy="704919"/>
              <a:chOff x="14154282" y="2732561"/>
              <a:chExt cx="1671361" cy="1714515"/>
            </a:xfrm>
          </p:grpSpPr>
          <p:sp>
            <p:nvSpPr>
              <p:cNvPr id="29" name="Freeform 28"/>
              <p:cNvSpPr>
                <a:spLocks noEditPoints="1"/>
              </p:cNvSpPr>
              <p:nvPr/>
            </p:nvSpPr>
            <p:spPr bwMode="black">
              <a:xfrm>
                <a:off x="14154282" y="2732561"/>
                <a:ext cx="1671361" cy="171451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adFill flip="none" rotWithShape="1">
                <a:gsLst>
                  <a:gs pos="57000">
                    <a:schemeClr val="tx1">
                      <a:lumMod val="75000"/>
                    </a:schemeClr>
                  </a:gs>
                  <a:gs pos="58000">
                    <a:schemeClr val="bg1">
                      <a:lumMod val="50000"/>
                    </a:schemeClr>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30" name="Oval 29"/>
              <p:cNvSpPr>
                <a:spLocks noChangeArrowheads="1"/>
              </p:cNvSpPr>
              <p:nvPr/>
            </p:nvSpPr>
            <p:spPr bwMode="black">
              <a:xfrm>
                <a:off x="14818730" y="3440877"/>
                <a:ext cx="342468" cy="342377"/>
              </a:xfrm>
              <a:prstGeom prst="ellipse">
                <a:avLst/>
              </a:pr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37"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33" name="Freeform 32"/>
          <p:cNvSpPr/>
          <p:nvPr/>
        </p:nvSpPr>
        <p:spPr bwMode="auto">
          <a:xfrm rot="7010332">
            <a:off x="431103" y="4487510"/>
            <a:ext cx="383616" cy="338552"/>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Freeform 33"/>
          <p:cNvSpPr/>
          <p:nvPr/>
        </p:nvSpPr>
        <p:spPr bwMode="auto">
          <a:xfrm rot="7010332">
            <a:off x="1663102" y="3908901"/>
            <a:ext cx="194163" cy="171354"/>
          </a:xfrm>
          <a:custGeom>
            <a:avLst/>
            <a:gdLst>
              <a:gd name="connsiteX0" fmla="*/ 298980 w 1027246"/>
              <a:gd name="connsiteY0" fmla="*/ 813645 h 906577"/>
              <a:gd name="connsiteX1" fmla="*/ 360057 w 1027246"/>
              <a:gd name="connsiteY1" fmla="*/ 733608 h 906577"/>
              <a:gd name="connsiteX2" fmla="*/ 798175 w 1027246"/>
              <a:gd name="connsiteY2" fmla="*/ 725418 h 906577"/>
              <a:gd name="connsiteX3" fmla="*/ 889970 w 1027246"/>
              <a:gd name="connsiteY3" fmla="*/ 296946 h 906577"/>
              <a:gd name="connsiteX4" fmla="*/ 493660 w 1027246"/>
              <a:gd name="connsiteY4" fmla="*/ 109989 h 906577"/>
              <a:gd name="connsiteX5" fmla="*/ 221366 w 1027246"/>
              <a:gd name="connsiteY5" fmla="*/ 453312 h 906577"/>
              <a:gd name="connsiteX6" fmla="*/ 120686 w 1027246"/>
              <a:gd name="connsiteY6" fmla="*/ 453311 h 906577"/>
              <a:gd name="connsiteX7" fmla="*/ 470733 w 1027246"/>
              <a:gd name="connsiteY7" fmla="*/ 11953 h 906577"/>
              <a:gd name="connsiteX8" fmla="*/ 980209 w 1027246"/>
              <a:gd name="connsiteY8" fmla="*/ 252295 h 906577"/>
              <a:gd name="connsiteX9" fmla="*/ 862202 w 1027246"/>
              <a:gd name="connsiteY9" fmla="*/ 803116 h 906577"/>
              <a:gd name="connsiteX10" fmla="*/ 298980 w 1027246"/>
              <a:gd name="connsiteY10" fmla="*/ 813645 h 906577"/>
              <a:gd name="connsiteX11" fmla="*/ 43476 w 1027246"/>
              <a:gd name="connsiteY11" fmla="*/ 775687 h 906577"/>
              <a:gd name="connsiteX12" fmla="*/ 0 w 1027246"/>
              <a:gd name="connsiteY12" fmla="*/ 689765 h 906577"/>
              <a:gd name="connsiteX13" fmla="*/ 587668 w 1027246"/>
              <a:gd name="connsiteY13" fmla="*/ 392412 h 906577"/>
              <a:gd name="connsiteX14" fmla="*/ 631143 w 1027246"/>
              <a:gd name="connsiteY14" fmla="*/ 478334 h 90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246" h="906577">
                <a:moveTo>
                  <a:pt x="298980" y="813645"/>
                </a:moveTo>
                <a:lnTo>
                  <a:pt x="360057" y="733608"/>
                </a:lnTo>
                <a:cubicBezTo>
                  <a:pt x="490271" y="832975"/>
                  <a:pt x="671767" y="829582"/>
                  <a:pt x="798175" y="725418"/>
                </a:cubicBezTo>
                <a:cubicBezTo>
                  <a:pt x="924584" y="621254"/>
                  <a:pt x="962611" y="443754"/>
                  <a:pt x="889970" y="296946"/>
                </a:cubicBezTo>
                <a:cubicBezTo>
                  <a:pt x="817329" y="150138"/>
                  <a:pt x="653152" y="72689"/>
                  <a:pt x="493660" y="109989"/>
                </a:cubicBezTo>
                <a:cubicBezTo>
                  <a:pt x="334167" y="147289"/>
                  <a:pt x="221366" y="289515"/>
                  <a:pt x="221366" y="453312"/>
                </a:cubicBezTo>
                <a:lnTo>
                  <a:pt x="120686" y="453311"/>
                </a:lnTo>
                <a:cubicBezTo>
                  <a:pt x="120686" y="242743"/>
                  <a:pt x="265698" y="59905"/>
                  <a:pt x="470733" y="11953"/>
                </a:cubicBezTo>
                <a:cubicBezTo>
                  <a:pt x="675768" y="-35998"/>
                  <a:pt x="886825" y="63566"/>
                  <a:pt x="980209" y="252295"/>
                </a:cubicBezTo>
                <a:cubicBezTo>
                  <a:pt x="1073592" y="441024"/>
                  <a:pt x="1024706" y="669208"/>
                  <a:pt x="862202" y="803116"/>
                </a:cubicBezTo>
                <a:cubicBezTo>
                  <a:pt x="699698" y="937024"/>
                  <a:pt x="466376" y="941385"/>
                  <a:pt x="298980" y="813645"/>
                </a:cubicBezTo>
                <a:close/>
                <a:moveTo>
                  <a:pt x="43476" y="775687"/>
                </a:moveTo>
                <a:lnTo>
                  <a:pt x="0" y="689765"/>
                </a:lnTo>
                <a:lnTo>
                  <a:pt x="587668" y="392412"/>
                </a:lnTo>
                <a:lnTo>
                  <a:pt x="631143" y="47833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5" name="Group 34"/>
          <p:cNvGrpSpPr>
            <a:grpSpLocks noChangeAspect="1"/>
          </p:cNvGrpSpPr>
          <p:nvPr/>
        </p:nvGrpSpPr>
        <p:grpSpPr>
          <a:xfrm>
            <a:off x="2370080" y="3361189"/>
            <a:ext cx="395451" cy="369245"/>
            <a:chOff x="-5364163" y="-2738437"/>
            <a:chExt cx="4327525" cy="4054475"/>
          </a:xfrm>
          <a:solidFill>
            <a:schemeClr val="accent4"/>
          </a:solidFill>
        </p:grpSpPr>
        <p:sp>
          <p:nvSpPr>
            <p:cNvPr id="36"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37"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38"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39"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0"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1"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2"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8"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sp>
          <p:nvSpPr>
            <p:cNvPr id="49"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Light"/>
                <a:ea typeface="+mn-ea"/>
                <a:cs typeface="+mn-cs"/>
              </a:endParaRPr>
            </a:p>
          </p:txBody>
        </p:sp>
      </p:grpSp>
      <p:pic>
        <p:nvPicPr>
          <p:cNvPr id="50" name="Picture 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4060" y="4134614"/>
            <a:ext cx="633997" cy="633997"/>
          </a:xfrm>
          <a:prstGeom prst="rect">
            <a:avLst/>
          </a:prstGeom>
        </p:spPr>
      </p:pic>
      <p:grpSp>
        <p:nvGrpSpPr>
          <p:cNvPr id="51" name="Group 50"/>
          <p:cNvGrpSpPr/>
          <p:nvPr/>
        </p:nvGrpSpPr>
        <p:grpSpPr>
          <a:xfrm>
            <a:off x="4218833" y="3446571"/>
            <a:ext cx="3976506" cy="2804036"/>
            <a:chOff x="4218567" y="3446573"/>
            <a:chExt cx="3977070" cy="2804434"/>
          </a:xfrm>
        </p:grpSpPr>
        <p:grpSp>
          <p:nvGrpSpPr>
            <p:cNvPr id="52" name="Group 51"/>
            <p:cNvGrpSpPr/>
            <p:nvPr/>
          </p:nvGrpSpPr>
          <p:grpSpPr>
            <a:xfrm>
              <a:off x="5461371" y="4792127"/>
              <a:ext cx="2373722" cy="1458880"/>
              <a:chOff x="2091702" y="1130273"/>
              <a:chExt cx="1816694" cy="1116533"/>
            </a:xfrm>
          </p:grpSpPr>
          <p:sp>
            <p:nvSpPr>
              <p:cNvPr id="57" name="Freeform 56"/>
              <p:cNvSpPr/>
              <p:nvPr/>
            </p:nvSpPr>
            <p:spPr>
              <a:xfrm>
                <a:off x="2925244" y="1130273"/>
                <a:ext cx="768277" cy="50978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BBC"/>
                  </a:gs>
                  <a:gs pos="57000">
                    <a:srgbClr val="107BCC"/>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err="1">
                    <a:ln>
                      <a:noFill/>
                    </a:ln>
                    <a:solidFill>
                      <a:srgbClr val="FFFFFF"/>
                    </a:solidFill>
                    <a:effectLst/>
                    <a:uLnTx/>
                    <a:uFillTx/>
                    <a:latin typeface="Segoe Light"/>
                    <a:ea typeface="+mn-ea"/>
                    <a:cs typeface="+mn-cs"/>
                  </a:rPr>
                  <a:t>Saas</a:t>
                </a: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58" name="Freeform 57"/>
              <p:cNvSpPr/>
              <p:nvPr/>
            </p:nvSpPr>
            <p:spPr>
              <a:xfrm>
                <a:off x="2091702" y="1266766"/>
                <a:ext cx="992702" cy="65869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59" name="Freeform 58"/>
              <p:cNvSpPr/>
              <p:nvPr/>
            </p:nvSpPr>
            <p:spPr>
              <a:xfrm>
                <a:off x="2124261" y="1296796"/>
                <a:ext cx="942161" cy="62516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Azure</a:t>
                </a:r>
              </a:p>
            </p:txBody>
          </p:sp>
          <p:sp>
            <p:nvSpPr>
              <p:cNvPr id="60" name="Freeform 59"/>
              <p:cNvSpPr/>
              <p:nvPr/>
            </p:nvSpPr>
            <p:spPr>
              <a:xfrm>
                <a:off x="2178210" y="1724130"/>
                <a:ext cx="780247" cy="51772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61" name="Freeform 60"/>
              <p:cNvSpPr/>
              <p:nvPr/>
            </p:nvSpPr>
            <p:spPr>
              <a:xfrm>
                <a:off x="2190537" y="1748344"/>
                <a:ext cx="751218" cy="498462"/>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6ABE"/>
                  </a:gs>
                  <a:gs pos="57000">
                    <a:srgbClr val="137BCD"/>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Public</a:t>
                </a:r>
              </a:p>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Cloud</a:t>
                </a:r>
              </a:p>
            </p:txBody>
          </p:sp>
          <p:sp>
            <p:nvSpPr>
              <p:cNvPr id="62" name="Freeform 61"/>
              <p:cNvSpPr/>
              <p:nvPr/>
            </p:nvSpPr>
            <p:spPr>
              <a:xfrm>
                <a:off x="2849261" y="1491932"/>
                <a:ext cx="1059135" cy="702777"/>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Office 365</a:t>
                </a:r>
              </a:p>
            </p:txBody>
          </p:sp>
          <p:sp>
            <p:nvSpPr>
              <p:cNvPr id="63" name="Freeform 62"/>
              <p:cNvSpPr/>
              <p:nvPr/>
            </p:nvSpPr>
            <p:spPr>
              <a:xfrm>
                <a:off x="2885514" y="1509815"/>
                <a:ext cx="1005232" cy="667010"/>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Office 365</a:t>
                </a:r>
              </a:p>
            </p:txBody>
          </p:sp>
        </p:grpSp>
        <p:sp>
          <p:nvSpPr>
            <p:cNvPr id="53" name="TextBox 52"/>
            <p:cNvSpPr txBox="1"/>
            <p:nvPr/>
          </p:nvSpPr>
          <p:spPr>
            <a:xfrm>
              <a:off x="4218567" y="3979665"/>
              <a:ext cx="3977070" cy="837231"/>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Get started in minutes</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Integrated with Azure ML, PowerBI &amp; ADF</a:t>
              </a:r>
            </a:p>
          </p:txBody>
        </p:sp>
        <p:sp>
          <p:nvSpPr>
            <p:cNvPr id="54" name="Rectangle 53"/>
            <p:cNvSpPr/>
            <p:nvPr/>
          </p:nvSpPr>
          <p:spPr bwMode="auto">
            <a:xfrm>
              <a:off x="4319937" y="3446573"/>
              <a:ext cx="3295128" cy="54118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owered by the Cloud</a:t>
              </a:r>
            </a:p>
          </p:txBody>
        </p:sp>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1272" y="5200826"/>
              <a:ext cx="434609" cy="434609"/>
            </a:xfrm>
            <a:prstGeom prst="rect">
              <a:avLst/>
            </a:prstGeom>
          </p:spPr>
        </p:pic>
        <p:pic>
          <p:nvPicPr>
            <p:cNvPr id="56" name="Picture 55"/>
            <p:cNvPicPr>
              <a:picLocks noChangeAspect="1"/>
            </p:cNvPicPr>
            <p:nvPr/>
          </p:nvPicPr>
          <p:blipFill>
            <a:blip r:embed="rId4">
              <a:clrChange>
                <a:clrFrom>
                  <a:srgbClr val="000000"/>
                </a:clrFrom>
                <a:clrTo>
                  <a:srgbClr val="000000">
                    <a:alpha val="0"/>
                  </a:srgbClr>
                </a:clrTo>
              </a:clrChange>
            </a:blip>
            <a:stretch>
              <a:fillRect/>
            </a:stretch>
          </p:blipFill>
          <p:spPr>
            <a:xfrm>
              <a:off x="4926878" y="5680291"/>
              <a:ext cx="541790" cy="541790"/>
            </a:xfrm>
            <a:prstGeom prst="rect">
              <a:avLst/>
            </a:prstGeom>
          </p:spPr>
        </p:pic>
      </p:grpSp>
      <p:grpSp>
        <p:nvGrpSpPr>
          <p:cNvPr id="91" name="Group 90"/>
          <p:cNvGrpSpPr/>
          <p:nvPr/>
        </p:nvGrpSpPr>
        <p:grpSpPr>
          <a:xfrm>
            <a:off x="2325061" y="4169317"/>
            <a:ext cx="380992" cy="560216"/>
            <a:chOff x="2324526" y="4169422"/>
            <a:chExt cx="381046" cy="560295"/>
          </a:xfrm>
        </p:grpSpPr>
        <p:sp>
          <p:nvSpPr>
            <p:cNvPr id="92" name="Flowchart: Magnetic Disk 91"/>
            <p:cNvSpPr/>
            <p:nvPr/>
          </p:nvSpPr>
          <p:spPr bwMode="auto">
            <a:xfrm>
              <a:off x="2324526" y="4169422"/>
              <a:ext cx="381046" cy="560295"/>
            </a:xfrm>
            <a:prstGeom prst="flowChartMagneticDisk">
              <a:avLst/>
            </a:prstGeom>
            <a:gradFill flip="none" rotWithShape="1">
              <a:gsLst>
                <a:gs pos="57000">
                  <a:srgbClr val="003F82"/>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err="1">
                <a:ln>
                  <a:noFill/>
                </a:ln>
                <a:solidFill>
                  <a:srgbClr val="FFFFFF"/>
                </a:solidFill>
                <a:effectLst/>
                <a:uLnTx/>
                <a:uFillTx/>
                <a:latin typeface="Segoe Light"/>
                <a:ea typeface="+mn-ea"/>
                <a:cs typeface="+mn-cs"/>
              </a:endParaRPr>
            </a:p>
          </p:txBody>
        </p:sp>
        <p:sp>
          <p:nvSpPr>
            <p:cNvPr id="93" name="Oval 92"/>
            <p:cNvSpPr/>
            <p:nvPr/>
          </p:nvSpPr>
          <p:spPr bwMode="auto">
            <a:xfrm>
              <a:off x="2366342" y="4197108"/>
              <a:ext cx="312260" cy="1329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5" name="Group 94"/>
          <p:cNvGrpSpPr/>
          <p:nvPr/>
        </p:nvGrpSpPr>
        <p:grpSpPr>
          <a:xfrm>
            <a:off x="8456213" y="2456194"/>
            <a:ext cx="3679806" cy="3488136"/>
            <a:chOff x="8456548" y="2456056"/>
            <a:chExt cx="3680328" cy="3488631"/>
          </a:xfrm>
        </p:grpSpPr>
        <p:sp>
          <p:nvSpPr>
            <p:cNvPr id="96" name="Freeform 95"/>
            <p:cNvSpPr>
              <a:spLocks noChangeAspect="1"/>
            </p:cNvSpPr>
            <p:nvPr/>
          </p:nvSpPr>
          <p:spPr bwMode="gray">
            <a:xfrm>
              <a:off x="9186348" y="3909781"/>
              <a:ext cx="1308837" cy="896818"/>
            </a:xfrm>
            <a:custGeom>
              <a:avLst/>
              <a:gdLst>
                <a:gd name="connsiteX0" fmla="*/ 108198 w 5712852"/>
                <a:gd name="connsiteY0" fmla="*/ 3682402 h 3914458"/>
                <a:gd name="connsiteX1" fmla="*/ 5604654 w 5712852"/>
                <a:gd name="connsiteY1" fmla="*/ 3682402 h 3914458"/>
                <a:gd name="connsiteX2" fmla="*/ 5712852 w 5712852"/>
                <a:gd name="connsiteY2" fmla="*/ 3798430 h 3914458"/>
                <a:gd name="connsiteX3" fmla="*/ 5604654 w 5712852"/>
                <a:gd name="connsiteY3" fmla="*/ 3914458 h 3914458"/>
                <a:gd name="connsiteX4" fmla="*/ 108198 w 5712852"/>
                <a:gd name="connsiteY4" fmla="*/ 3914458 h 3914458"/>
                <a:gd name="connsiteX5" fmla="*/ 0 w 5712852"/>
                <a:gd name="connsiteY5" fmla="*/ 3798430 h 3914458"/>
                <a:gd name="connsiteX6" fmla="*/ 108198 w 5712852"/>
                <a:gd name="connsiteY6" fmla="*/ 3682402 h 3914458"/>
                <a:gd name="connsiteX7" fmla="*/ 845170 w 5712852"/>
                <a:gd name="connsiteY7" fmla="*/ 2908607 h 3914458"/>
                <a:gd name="connsiteX8" fmla="*/ 1954772 w 5712852"/>
                <a:gd name="connsiteY8" fmla="*/ 2908607 h 3914458"/>
                <a:gd name="connsiteX9" fmla="*/ 1990796 w 5712852"/>
                <a:gd name="connsiteY9" fmla="*/ 2944230 h 3914458"/>
                <a:gd name="connsiteX10" fmla="*/ 1990796 w 5712852"/>
                <a:gd name="connsiteY10" fmla="*/ 2958479 h 3914458"/>
                <a:gd name="connsiteX11" fmla="*/ 1954772 w 5712852"/>
                <a:gd name="connsiteY11" fmla="*/ 2994101 h 3914458"/>
                <a:gd name="connsiteX12" fmla="*/ 845170 w 5712852"/>
                <a:gd name="connsiteY12" fmla="*/ 2994101 h 3914458"/>
                <a:gd name="connsiteX13" fmla="*/ 809144 w 5712852"/>
                <a:gd name="connsiteY13" fmla="*/ 2958479 h 3914458"/>
                <a:gd name="connsiteX14" fmla="*/ 809144 w 5712852"/>
                <a:gd name="connsiteY14" fmla="*/ 2944230 h 3914458"/>
                <a:gd name="connsiteX15" fmla="*/ 845170 w 5712852"/>
                <a:gd name="connsiteY15" fmla="*/ 2908607 h 3914458"/>
                <a:gd name="connsiteX16" fmla="*/ 845170 w 5712852"/>
                <a:gd name="connsiteY16" fmla="*/ 2618536 h 3914458"/>
                <a:gd name="connsiteX17" fmla="*/ 1954772 w 5712852"/>
                <a:gd name="connsiteY17" fmla="*/ 2618536 h 3914458"/>
                <a:gd name="connsiteX18" fmla="*/ 1990796 w 5712852"/>
                <a:gd name="connsiteY18" fmla="*/ 2655431 h 3914458"/>
                <a:gd name="connsiteX19" fmla="*/ 1990796 w 5712852"/>
                <a:gd name="connsiteY19" fmla="*/ 2670189 h 3914458"/>
                <a:gd name="connsiteX20" fmla="*/ 1954772 w 5712852"/>
                <a:gd name="connsiteY20" fmla="*/ 2707084 h 3914458"/>
                <a:gd name="connsiteX21" fmla="*/ 845170 w 5712852"/>
                <a:gd name="connsiteY21" fmla="*/ 2707084 h 3914458"/>
                <a:gd name="connsiteX22" fmla="*/ 809144 w 5712852"/>
                <a:gd name="connsiteY22" fmla="*/ 2670189 h 3914458"/>
                <a:gd name="connsiteX23" fmla="*/ 809144 w 5712852"/>
                <a:gd name="connsiteY23" fmla="*/ 2655431 h 3914458"/>
                <a:gd name="connsiteX24" fmla="*/ 845170 w 5712852"/>
                <a:gd name="connsiteY24" fmla="*/ 2618536 h 3914458"/>
                <a:gd name="connsiteX25" fmla="*/ 2446370 w 5712852"/>
                <a:gd name="connsiteY25" fmla="*/ 2560522 h 3914458"/>
                <a:gd name="connsiteX26" fmla="*/ 4659920 w 5712852"/>
                <a:gd name="connsiteY26" fmla="*/ 2560522 h 3914458"/>
                <a:gd name="connsiteX27" fmla="*/ 4876228 w 5712852"/>
                <a:gd name="connsiteY27" fmla="*/ 2762859 h 3914458"/>
                <a:gd name="connsiteX28" fmla="*/ 4876228 w 5712852"/>
                <a:gd name="connsiteY28" fmla="*/ 2791764 h 3914458"/>
                <a:gd name="connsiteX29" fmla="*/ 4659920 w 5712852"/>
                <a:gd name="connsiteY29" fmla="*/ 2994101 h 3914458"/>
                <a:gd name="connsiteX30" fmla="*/ 2446370 w 5712852"/>
                <a:gd name="connsiteY30" fmla="*/ 2994101 h 3914458"/>
                <a:gd name="connsiteX31" fmla="*/ 2222852 w 5712852"/>
                <a:gd name="connsiteY31" fmla="*/ 2791764 h 3914458"/>
                <a:gd name="connsiteX32" fmla="*/ 2222852 w 5712852"/>
                <a:gd name="connsiteY32" fmla="*/ 2762859 h 3914458"/>
                <a:gd name="connsiteX33" fmla="*/ 2446370 w 5712852"/>
                <a:gd name="connsiteY33" fmla="*/ 2560522 h 3914458"/>
                <a:gd name="connsiteX34" fmla="*/ 845170 w 5712852"/>
                <a:gd name="connsiteY34" fmla="*/ 2331519 h 3914458"/>
                <a:gd name="connsiteX35" fmla="*/ 1954772 w 5712852"/>
                <a:gd name="connsiteY35" fmla="*/ 2331519 h 3914458"/>
                <a:gd name="connsiteX36" fmla="*/ 1990796 w 5712852"/>
                <a:gd name="connsiteY36" fmla="*/ 2367141 h 3914458"/>
                <a:gd name="connsiteX37" fmla="*/ 1990796 w 5712852"/>
                <a:gd name="connsiteY37" fmla="*/ 2381390 h 3914458"/>
                <a:gd name="connsiteX38" fmla="*/ 1954772 w 5712852"/>
                <a:gd name="connsiteY38" fmla="*/ 2417013 h 3914458"/>
                <a:gd name="connsiteX39" fmla="*/ 845170 w 5712852"/>
                <a:gd name="connsiteY39" fmla="*/ 2417013 h 3914458"/>
                <a:gd name="connsiteX40" fmla="*/ 809144 w 5712852"/>
                <a:gd name="connsiteY40" fmla="*/ 2381390 h 3914458"/>
                <a:gd name="connsiteX41" fmla="*/ 809144 w 5712852"/>
                <a:gd name="connsiteY41" fmla="*/ 2367141 h 3914458"/>
                <a:gd name="connsiteX42" fmla="*/ 845170 w 5712852"/>
                <a:gd name="connsiteY42" fmla="*/ 2331519 h 3914458"/>
                <a:gd name="connsiteX43" fmla="*/ 845170 w 5712852"/>
                <a:gd name="connsiteY43" fmla="*/ 2041449 h 3914458"/>
                <a:gd name="connsiteX44" fmla="*/ 1954772 w 5712852"/>
                <a:gd name="connsiteY44" fmla="*/ 2041449 h 3914458"/>
                <a:gd name="connsiteX45" fmla="*/ 1990796 w 5712852"/>
                <a:gd name="connsiteY45" fmla="*/ 2078344 h 3914458"/>
                <a:gd name="connsiteX46" fmla="*/ 1990796 w 5712852"/>
                <a:gd name="connsiteY46" fmla="*/ 2093102 h 3914458"/>
                <a:gd name="connsiteX47" fmla="*/ 1954772 w 5712852"/>
                <a:gd name="connsiteY47" fmla="*/ 2129997 h 3914458"/>
                <a:gd name="connsiteX48" fmla="*/ 845170 w 5712852"/>
                <a:gd name="connsiteY48" fmla="*/ 2129997 h 3914458"/>
                <a:gd name="connsiteX49" fmla="*/ 809144 w 5712852"/>
                <a:gd name="connsiteY49" fmla="*/ 2093102 h 3914458"/>
                <a:gd name="connsiteX50" fmla="*/ 809144 w 5712852"/>
                <a:gd name="connsiteY50" fmla="*/ 2078344 h 3914458"/>
                <a:gd name="connsiteX51" fmla="*/ 845170 w 5712852"/>
                <a:gd name="connsiteY51" fmla="*/ 2041449 h 3914458"/>
                <a:gd name="connsiteX52" fmla="*/ 3106861 w 5712852"/>
                <a:gd name="connsiteY52" fmla="*/ 1436128 h 3914458"/>
                <a:gd name="connsiteX53" fmla="*/ 3279630 w 5712852"/>
                <a:gd name="connsiteY53" fmla="*/ 1679384 h 3914458"/>
                <a:gd name="connsiteX54" fmla="*/ 3195994 w 5712852"/>
                <a:gd name="connsiteY54" fmla="*/ 1860133 h 3914458"/>
                <a:gd name="connsiteX55" fmla="*/ 3041379 w 5712852"/>
                <a:gd name="connsiteY55" fmla="*/ 1526256 h 3914458"/>
                <a:gd name="connsiteX56" fmla="*/ 2784464 w 5712852"/>
                <a:gd name="connsiteY56" fmla="*/ 1128801 h 3914458"/>
                <a:gd name="connsiteX57" fmla="*/ 2966034 w 5712852"/>
                <a:gd name="connsiteY57" fmla="*/ 1515688 h 3914458"/>
                <a:gd name="connsiteX58" fmla="*/ 2546062 w 5712852"/>
                <a:gd name="connsiteY58" fmla="*/ 2098457 h 3914458"/>
                <a:gd name="connsiteX59" fmla="*/ 2538450 w 5712852"/>
                <a:gd name="connsiteY59" fmla="*/ 2093324 h 3914458"/>
                <a:gd name="connsiteX60" fmla="*/ 2655989 w 5712852"/>
                <a:gd name="connsiteY60" fmla="*/ 1632500 h 3914458"/>
                <a:gd name="connsiteX61" fmla="*/ 2784464 w 5712852"/>
                <a:gd name="connsiteY61" fmla="*/ 1128801 h 3914458"/>
                <a:gd name="connsiteX62" fmla="*/ 1348411 w 5712852"/>
                <a:gd name="connsiteY62" fmla="*/ 680933 h 3914458"/>
                <a:gd name="connsiteX63" fmla="*/ 1507411 w 5712852"/>
                <a:gd name="connsiteY63" fmla="*/ 738588 h 3914458"/>
                <a:gd name="connsiteX64" fmla="*/ 1550775 w 5712852"/>
                <a:gd name="connsiteY64" fmla="*/ 889932 h 3914458"/>
                <a:gd name="connsiteX65" fmla="*/ 1507411 w 5712852"/>
                <a:gd name="connsiteY65" fmla="*/ 1041276 h 3914458"/>
                <a:gd name="connsiteX66" fmla="*/ 1471275 w 5712852"/>
                <a:gd name="connsiteY66" fmla="*/ 1156586 h 3914458"/>
                <a:gd name="connsiteX67" fmla="*/ 1724227 w 5712852"/>
                <a:gd name="connsiteY67" fmla="*/ 1257482 h 3914458"/>
                <a:gd name="connsiteX68" fmla="*/ 1760365 w 5712852"/>
                <a:gd name="connsiteY68" fmla="*/ 1322344 h 3914458"/>
                <a:gd name="connsiteX69" fmla="*/ 1782045 w 5712852"/>
                <a:gd name="connsiteY69" fmla="*/ 1538550 h 3914458"/>
                <a:gd name="connsiteX70" fmla="*/ 1789273 w 5712852"/>
                <a:gd name="connsiteY70" fmla="*/ 1661066 h 3914458"/>
                <a:gd name="connsiteX71" fmla="*/ 1008731 w 5712852"/>
                <a:gd name="connsiteY71" fmla="*/ 1661066 h 3914458"/>
                <a:gd name="connsiteX72" fmla="*/ 1008731 w 5712852"/>
                <a:gd name="connsiteY72" fmla="*/ 1372792 h 3914458"/>
                <a:gd name="connsiteX73" fmla="*/ 1044867 w 5712852"/>
                <a:gd name="connsiteY73" fmla="*/ 1264689 h 3914458"/>
                <a:gd name="connsiteX74" fmla="*/ 1268911 w 5712852"/>
                <a:gd name="connsiteY74" fmla="*/ 1156586 h 3914458"/>
                <a:gd name="connsiteX75" fmla="*/ 1218321 w 5712852"/>
                <a:gd name="connsiteY75" fmla="*/ 1026863 h 3914458"/>
                <a:gd name="connsiteX76" fmla="*/ 1203867 w 5712852"/>
                <a:gd name="connsiteY76" fmla="*/ 803450 h 3914458"/>
                <a:gd name="connsiteX77" fmla="*/ 1348411 w 5712852"/>
                <a:gd name="connsiteY77" fmla="*/ 680933 h 3914458"/>
                <a:gd name="connsiteX78" fmla="*/ 4473179 w 5712852"/>
                <a:gd name="connsiteY78" fmla="*/ 550320 h 3914458"/>
                <a:gd name="connsiteX79" fmla="*/ 4357849 w 5712852"/>
                <a:gd name="connsiteY79" fmla="*/ 665650 h 3914458"/>
                <a:gd name="connsiteX80" fmla="*/ 4366912 w 5712852"/>
                <a:gd name="connsiteY80" fmla="*/ 710542 h 3914458"/>
                <a:gd name="connsiteX81" fmla="*/ 4381211 w 5712852"/>
                <a:gd name="connsiteY81" fmla="*/ 731748 h 3914458"/>
                <a:gd name="connsiteX82" fmla="*/ 4020705 w 5712852"/>
                <a:gd name="connsiteY82" fmla="*/ 1187369 h 3914458"/>
                <a:gd name="connsiteX83" fmla="*/ 3581985 w 5712852"/>
                <a:gd name="connsiteY83" fmla="*/ 1025953 h 3914458"/>
                <a:gd name="connsiteX84" fmla="*/ 3313364 w 5712852"/>
                <a:gd name="connsiteY84" fmla="*/ 1606479 h 3914458"/>
                <a:gd name="connsiteX85" fmla="*/ 3107984 w 5712852"/>
                <a:gd name="connsiteY85" fmla="*/ 1318713 h 3914458"/>
                <a:gd name="connsiteX86" fmla="*/ 3008924 w 5712852"/>
                <a:gd name="connsiteY86" fmla="*/ 1456172 h 3914458"/>
                <a:gd name="connsiteX87" fmla="*/ 2764891 w 5712852"/>
                <a:gd name="connsiteY87" fmla="*/ 929204 h 3914458"/>
                <a:gd name="connsiteX88" fmla="*/ 2474691 w 5712852"/>
                <a:gd name="connsiteY88" fmla="*/ 2083778 h 3914458"/>
                <a:gd name="connsiteX89" fmla="*/ 2443768 w 5712852"/>
                <a:gd name="connsiteY89" fmla="*/ 2090021 h 3914458"/>
                <a:gd name="connsiteX90" fmla="*/ 2373329 w 5712852"/>
                <a:gd name="connsiteY90" fmla="*/ 2196288 h 3914458"/>
                <a:gd name="connsiteX91" fmla="*/ 2488659 w 5712852"/>
                <a:gd name="connsiteY91" fmla="*/ 2311618 h 3914458"/>
                <a:gd name="connsiteX92" fmla="*/ 2603989 w 5712852"/>
                <a:gd name="connsiteY92" fmla="*/ 2196288 h 3914458"/>
                <a:gd name="connsiteX93" fmla="*/ 2594926 w 5712852"/>
                <a:gd name="connsiteY93" fmla="*/ 2151397 h 3914458"/>
                <a:gd name="connsiteX94" fmla="*/ 2591202 w 5712852"/>
                <a:gd name="connsiteY94" fmla="*/ 2145873 h 3914458"/>
                <a:gd name="connsiteX95" fmla="*/ 2998617 w 5712852"/>
                <a:gd name="connsiteY95" fmla="*/ 1585114 h 3914458"/>
                <a:gd name="connsiteX96" fmla="*/ 3196260 w 5712852"/>
                <a:gd name="connsiteY96" fmla="*/ 2006249 h 3914458"/>
                <a:gd name="connsiteX97" fmla="*/ 3323276 w 5712852"/>
                <a:gd name="connsiteY97" fmla="*/ 1740837 h 3914458"/>
                <a:gd name="connsiteX98" fmla="*/ 3475135 w 5712852"/>
                <a:gd name="connsiteY98" fmla="*/ 1954653 h 3914458"/>
                <a:gd name="connsiteX99" fmla="*/ 4009339 w 5712852"/>
                <a:gd name="connsiteY99" fmla="*/ 1650537 h 3914458"/>
                <a:gd name="connsiteX100" fmla="*/ 4199709 w 5712852"/>
                <a:gd name="connsiteY100" fmla="*/ 1913604 h 3914458"/>
                <a:gd name="connsiteX101" fmla="*/ 4529157 w 5712852"/>
                <a:gd name="connsiteY101" fmla="*/ 1580232 h 3914458"/>
                <a:gd name="connsiteX102" fmla="*/ 4543618 w 5712852"/>
                <a:gd name="connsiteY102" fmla="*/ 1589982 h 3914458"/>
                <a:gd name="connsiteX103" fmla="*/ 4588509 w 5712852"/>
                <a:gd name="connsiteY103" fmla="*/ 1599045 h 3914458"/>
                <a:gd name="connsiteX104" fmla="*/ 4703839 w 5712852"/>
                <a:gd name="connsiteY104" fmla="*/ 1483715 h 3914458"/>
                <a:gd name="connsiteX105" fmla="*/ 4588509 w 5712852"/>
                <a:gd name="connsiteY105" fmla="*/ 1368385 h 3914458"/>
                <a:gd name="connsiteX106" fmla="*/ 4473179 w 5712852"/>
                <a:gd name="connsiteY106" fmla="*/ 1483715 h 3914458"/>
                <a:gd name="connsiteX107" fmla="*/ 4480139 w 5712852"/>
                <a:gd name="connsiteY107" fmla="*/ 1518186 h 3914458"/>
                <a:gd name="connsiteX108" fmla="*/ 4217485 w 5712852"/>
                <a:gd name="connsiteY108" fmla="*/ 1798164 h 3914458"/>
                <a:gd name="connsiteX109" fmla="*/ 4037504 w 5712852"/>
                <a:gd name="connsiteY109" fmla="*/ 1560366 h 3914458"/>
                <a:gd name="connsiteX110" fmla="*/ 3498455 w 5712852"/>
                <a:gd name="connsiteY110" fmla="*/ 1865818 h 3914458"/>
                <a:gd name="connsiteX111" fmla="*/ 3357787 w 5712852"/>
                <a:gd name="connsiteY111" fmla="*/ 1668722 h 3914458"/>
                <a:gd name="connsiteX112" fmla="*/ 3620404 w 5712852"/>
                <a:gd name="connsiteY112" fmla="*/ 1119958 h 3914458"/>
                <a:gd name="connsiteX113" fmla="*/ 4047072 w 5712852"/>
                <a:gd name="connsiteY113" fmla="*/ 1271366 h 3914458"/>
                <a:gd name="connsiteX114" fmla="*/ 4431112 w 5712852"/>
                <a:gd name="connsiteY114" fmla="*/ 772487 h 3914458"/>
                <a:gd name="connsiteX115" fmla="*/ 4473179 w 5712852"/>
                <a:gd name="connsiteY115" fmla="*/ 780980 h 3914458"/>
                <a:gd name="connsiteX116" fmla="*/ 4588509 w 5712852"/>
                <a:gd name="connsiteY116" fmla="*/ 665650 h 3914458"/>
                <a:gd name="connsiteX117" fmla="*/ 4473179 w 5712852"/>
                <a:gd name="connsiteY117" fmla="*/ 550320 h 3914458"/>
                <a:gd name="connsiteX118" fmla="*/ 924425 w 5712852"/>
                <a:gd name="connsiteY118" fmla="*/ 479411 h 3914458"/>
                <a:gd name="connsiteX119" fmla="*/ 1875513 w 5712852"/>
                <a:gd name="connsiteY119" fmla="*/ 479411 h 3914458"/>
                <a:gd name="connsiteX120" fmla="*/ 1990795 w 5712852"/>
                <a:gd name="connsiteY120" fmla="*/ 594694 h 3914458"/>
                <a:gd name="connsiteX121" fmla="*/ 1990795 w 5712852"/>
                <a:gd name="connsiteY121" fmla="*/ 1545784 h 3914458"/>
                <a:gd name="connsiteX122" fmla="*/ 1875513 w 5712852"/>
                <a:gd name="connsiteY122" fmla="*/ 1661067 h 3914458"/>
                <a:gd name="connsiteX123" fmla="*/ 1846691 w 5712852"/>
                <a:gd name="connsiteY123" fmla="*/ 1661067 h 3914458"/>
                <a:gd name="connsiteX124" fmla="*/ 1839487 w 5712852"/>
                <a:gd name="connsiteY124" fmla="*/ 1531373 h 3914458"/>
                <a:gd name="connsiteX125" fmla="*/ 1817871 w 5712852"/>
                <a:gd name="connsiteY125" fmla="*/ 1315217 h 3914458"/>
                <a:gd name="connsiteX126" fmla="*/ 1817871 w 5712852"/>
                <a:gd name="connsiteY126" fmla="*/ 1308011 h 3914458"/>
                <a:gd name="connsiteX127" fmla="*/ 1817871 w 5712852"/>
                <a:gd name="connsiteY127" fmla="*/ 1300806 h 3914458"/>
                <a:gd name="connsiteX128" fmla="*/ 1810665 w 5712852"/>
                <a:gd name="connsiteY128" fmla="*/ 1293601 h 3914458"/>
                <a:gd name="connsiteX129" fmla="*/ 1753025 w 5712852"/>
                <a:gd name="connsiteY129" fmla="*/ 1207138 h 3914458"/>
                <a:gd name="connsiteX130" fmla="*/ 1666561 w 5712852"/>
                <a:gd name="connsiteY130" fmla="*/ 1171112 h 3914458"/>
                <a:gd name="connsiteX131" fmla="*/ 1529663 w 5712852"/>
                <a:gd name="connsiteY131" fmla="*/ 1127881 h 3914458"/>
                <a:gd name="connsiteX132" fmla="*/ 1551279 w 5712852"/>
                <a:gd name="connsiteY132" fmla="*/ 1077444 h 3914458"/>
                <a:gd name="connsiteX133" fmla="*/ 1608919 w 5712852"/>
                <a:gd name="connsiteY133" fmla="*/ 904519 h 3914458"/>
                <a:gd name="connsiteX134" fmla="*/ 1608919 w 5712852"/>
                <a:gd name="connsiteY134" fmla="*/ 897314 h 3914458"/>
                <a:gd name="connsiteX135" fmla="*/ 1608919 w 5712852"/>
                <a:gd name="connsiteY135" fmla="*/ 890109 h 3914458"/>
                <a:gd name="connsiteX136" fmla="*/ 1558483 w 5712852"/>
                <a:gd name="connsiteY136" fmla="*/ 702773 h 3914458"/>
                <a:gd name="connsiteX137" fmla="*/ 1349533 w 5712852"/>
                <a:gd name="connsiteY137" fmla="*/ 623515 h 3914458"/>
                <a:gd name="connsiteX138" fmla="*/ 1147787 w 5712852"/>
                <a:gd name="connsiteY138" fmla="*/ 796441 h 3914458"/>
                <a:gd name="connsiteX139" fmla="*/ 1162197 w 5712852"/>
                <a:gd name="connsiteY139" fmla="*/ 1041418 h 3914458"/>
                <a:gd name="connsiteX140" fmla="*/ 1198223 w 5712852"/>
                <a:gd name="connsiteY140" fmla="*/ 1106265 h 3914458"/>
                <a:gd name="connsiteX141" fmla="*/ 1205429 w 5712852"/>
                <a:gd name="connsiteY141" fmla="*/ 1120676 h 3914458"/>
                <a:gd name="connsiteX142" fmla="*/ 1162197 w 5712852"/>
                <a:gd name="connsiteY142" fmla="*/ 1135086 h 3914458"/>
                <a:gd name="connsiteX143" fmla="*/ 996477 w 5712852"/>
                <a:gd name="connsiteY143" fmla="*/ 1228754 h 3914458"/>
                <a:gd name="connsiteX144" fmla="*/ 953247 w 5712852"/>
                <a:gd name="connsiteY144" fmla="*/ 1372858 h 3914458"/>
                <a:gd name="connsiteX145" fmla="*/ 953247 w 5712852"/>
                <a:gd name="connsiteY145" fmla="*/ 1416090 h 3914458"/>
                <a:gd name="connsiteX146" fmla="*/ 953247 w 5712852"/>
                <a:gd name="connsiteY146" fmla="*/ 1661067 h 3914458"/>
                <a:gd name="connsiteX147" fmla="*/ 924425 w 5712852"/>
                <a:gd name="connsiteY147" fmla="*/ 1661067 h 3914458"/>
                <a:gd name="connsiteX148" fmla="*/ 809143 w 5712852"/>
                <a:gd name="connsiteY148" fmla="*/ 1545784 h 3914458"/>
                <a:gd name="connsiteX149" fmla="*/ 809143 w 5712852"/>
                <a:gd name="connsiteY149" fmla="*/ 594694 h 3914458"/>
                <a:gd name="connsiteX150" fmla="*/ 924425 w 5712852"/>
                <a:gd name="connsiteY150" fmla="*/ 479411 h 3914458"/>
                <a:gd name="connsiteX151" fmla="*/ 2313880 w 5712852"/>
                <a:gd name="connsiteY151" fmla="*/ 395700 h 3914458"/>
                <a:gd name="connsiteX152" fmla="*/ 4804846 w 5712852"/>
                <a:gd name="connsiteY152" fmla="*/ 395700 h 3914458"/>
                <a:gd name="connsiteX153" fmla="*/ 4904687 w 5712852"/>
                <a:gd name="connsiteY153" fmla="*/ 495541 h 3914458"/>
                <a:gd name="connsiteX154" fmla="*/ 4904687 w 5712852"/>
                <a:gd name="connsiteY154" fmla="*/ 2366397 h 3914458"/>
                <a:gd name="connsiteX155" fmla="*/ 4804846 w 5712852"/>
                <a:gd name="connsiteY155" fmla="*/ 2466238 h 3914458"/>
                <a:gd name="connsiteX156" fmla="*/ 2313880 w 5712852"/>
                <a:gd name="connsiteY156" fmla="*/ 2466238 h 3914458"/>
                <a:gd name="connsiteX157" fmla="*/ 2214039 w 5712852"/>
                <a:gd name="connsiteY157" fmla="*/ 2366397 h 3914458"/>
                <a:gd name="connsiteX158" fmla="*/ 2214039 w 5712852"/>
                <a:gd name="connsiteY158" fmla="*/ 495541 h 3914458"/>
                <a:gd name="connsiteX159" fmla="*/ 2313880 w 5712852"/>
                <a:gd name="connsiteY159" fmla="*/ 395700 h 3914458"/>
                <a:gd name="connsiteX160" fmla="*/ 575889 w 5712852"/>
                <a:gd name="connsiteY160" fmla="*/ 225891 h 3914458"/>
                <a:gd name="connsiteX161" fmla="*/ 575889 w 5712852"/>
                <a:gd name="connsiteY161" fmla="*/ 3334021 h 3914458"/>
                <a:gd name="connsiteX162" fmla="*/ 5090355 w 5712852"/>
                <a:gd name="connsiteY162" fmla="*/ 3334021 h 3914458"/>
                <a:gd name="connsiteX163" fmla="*/ 5090355 w 5712852"/>
                <a:gd name="connsiteY163" fmla="*/ 225891 h 3914458"/>
                <a:gd name="connsiteX164" fmla="*/ 521327 w 5712852"/>
                <a:gd name="connsiteY164" fmla="*/ 0 h 3914458"/>
                <a:gd name="connsiteX165" fmla="*/ 5144918 w 5712852"/>
                <a:gd name="connsiteY165" fmla="*/ 0 h 3914458"/>
                <a:gd name="connsiteX166" fmla="*/ 5300522 w 5712852"/>
                <a:gd name="connsiteY166" fmla="*/ 155604 h 3914458"/>
                <a:gd name="connsiteX167" fmla="*/ 5300522 w 5712852"/>
                <a:gd name="connsiteY167" fmla="*/ 3404308 h 3914458"/>
                <a:gd name="connsiteX168" fmla="*/ 5144918 w 5712852"/>
                <a:gd name="connsiteY168" fmla="*/ 3559912 h 3914458"/>
                <a:gd name="connsiteX169" fmla="*/ 521327 w 5712852"/>
                <a:gd name="connsiteY169" fmla="*/ 3559912 h 3914458"/>
                <a:gd name="connsiteX170" fmla="*/ 365723 w 5712852"/>
                <a:gd name="connsiteY170" fmla="*/ 3404308 h 3914458"/>
                <a:gd name="connsiteX171" fmla="*/ 365723 w 5712852"/>
                <a:gd name="connsiteY171" fmla="*/ 155604 h 3914458"/>
                <a:gd name="connsiteX172" fmla="*/ 521327 w 5712852"/>
                <a:gd name="connsiteY172" fmla="*/ 0 h 391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5712852" h="3914458">
                  <a:moveTo>
                    <a:pt x="108198" y="3682402"/>
                  </a:moveTo>
                  <a:cubicBezTo>
                    <a:pt x="108198" y="3682402"/>
                    <a:pt x="108198" y="3682402"/>
                    <a:pt x="5604654" y="3682402"/>
                  </a:cubicBezTo>
                  <a:cubicBezTo>
                    <a:pt x="5662360" y="3682402"/>
                    <a:pt x="5712852" y="3733164"/>
                    <a:pt x="5712852" y="3798430"/>
                  </a:cubicBezTo>
                  <a:cubicBezTo>
                    <a:pt x="5712852" y="3863696"/>
                    <a:pt x="5662360" y="3914458"/>
                    <a:pt x="5604654" y="3914458"/>
                  </a:cubicBezTo>
                  <a:cubicBezTo>
                    <a:pt x="5604654" y="3914458"/>
                    <a:pt x="5604654" y="3914458"/>
                    <a:pt x="108198" y="3914458"/>
                  </a:cubicBezTo>
                  <a:cubicBezTo>
                    <a:pt x="50493" y="3914458"/>
                    <a:pt x="0" y="3863696"/>
                    <a:pt x="0" y="3798430"/>
                  </a:cubicBezTo>
                  <a:cubicBezTo>
                    <a:pt x="0" y="3733164"/>
                    <a:pt x="50493" y="3682402"/>
                    <a:pt x="108198" y="3682402"/>
                  </a:cubicBezTo>
                  <a:close/>
                  <a:moveTo>
                    <a:pt x="845170" y="2908607"/>
                  </a:moveTo>
                  <a:cubicBezTo>
                    <a:pt x="845170" y="2908607"/>
                    <a:pt x="845170" y="2908607"/>
                    <a:pt x="1954772" y="2908607"/>
                  </a:cubicBezTo>
                  <a:cubicBezTo>
                    <a:pt x="1976386" y="2908607"/>
                    <a:pt x="1990796" y="2922856"/>
                    <a:pt x="1990796" y="2944230"/>
                  </a:cubicBezTo>
                  <a:cubicBezTo>
                    <a:pt x="1990796" y="2944230"/>
                    <a:pt x="1990796" y="2944230"/>
                    <a:pt x="1990796" y="2958479"/>
                  </a:cubicBezTo>
                  <a:cubicBezTo>
                    <a:pt x="1990796" y="2979852"/>
                    <a:pt x="1976386" y="2994101"/>
                    <a:pt x="1954772" y="2994101"/>
                  </a:cubicBezTo>
                  <a:cubicBezTo>
                    <a:pt x="1954772" y="2994101"/>
                    <a:pt x="1954772" y="2994101"/>
                    <a:pt x="845170" y="2994101"/>
                  </a:cubicBezTo>
                  <a:cubicBezTo>
                    <a:pt x="823554" y="2994101"/>
                    <a:pt x="809144" y="2979852"/>
                    <a:pt x="809144" y="2958479"/>
                  </a:cubicBezTo>
                  <a:cubicBezTo>
                    <a:pt x="809144" y="2958479"/>
                    <a:pt x="809144" y="2958479"/>
                    <a:pt x="809144" y="2944230"/>
                  </a:cubicBezTo>
                  <a:cubicBezTo>
                    <a:pt x="809144" y="2922856"/>
                    <a:pt x="823554" y="2908607"/>
                    <a:pt x="845170" y="2908607"/>
                  </a:cubicBezTo>
                  <a:close/>
                  <a:moveTo>
                    <a:pt x="845170" y="2618536"/>
                  </a:moveTo>
                  <a:cubicBezTo>
                    <a:pt x="845170" y="2618536"/>
                    <a:pt x="845170" y="2618536"/>
                    <a:pt x="1954772" y="2618536"/>
                  </a:cubicBezTo>
                  <a:cubicBezTo>
                    <a:pt x="1976386" y="2618536"/>
                    <a:pt x="1990796" y="2633294"/>
                    <a:pt x="1990796" y="2655431"/>
                  </a:cubicBezTo>
                  <a:cubicBezTo>
                    <a:pt x="1990796" y="2655431"/>
                    <a:pt x="1990796" y="2655431"/>
                    <a:pt x="1990796" y="2670189"/>
                  </a:cubicBezTo>
                  <a:cubicBezTo>
                    <a:pt x="1990796" y="2692326"/>
                    <a:pt x="1976386" y="2707084"/>
                    <a:pt x="1954772" y="2707084"/>
                  </a:cubicBezTo>
                  <a:cubicBezTo>
                    <a:pt x="1954772" y="2707084"/>
                    <a:pt x="1954772" y="2707084"/>
                    <a:pt x="845170" y="2707084"/>
                  </a:cubicBezTo>
                  <a:cubicBezTo>
                    <a:pt x="823554" y="2707084"/>
                    <a:pt x="809144" y="2692326"/>
                    <a:pt x="809144" y="2670189"/>
                  </a:cubicBezTo>
                  <a:cubicBezTo>
                    <a:pt x="809144" y="2670189"/>
                    <a:pt x="809144" y="2670189"/>
                    <a:pt x="809144" y="2655431"/>
                  </a:cubicBezTo>
                  <a:cubicBezTo>
                    <a:pt x="809144" y="2633294"/>
                    <a:pt x="823554" y="2618536"/>
                    <a:pt x="845170" y="2618536"/>
                  </a:cubicBezTo>
                  <a:close/>
                  <a:moveTo>
                    <a:pt x="2446370" y="2560522"/>
                  </a:moveTo>
                  <a:cubicBezTo>
                    <a:pt x="4659920" y="2560522"/>
                    <a:pt x="4659920" y="2560522"/>
                    <a:pt x="4659920" y="2560522"/>
                  </a:cubicBezTo>
                  <a:cubicBezTo>
                    <a:pt x="4782496" y="2560522"/>
                    <a:pt x="4876228" y="2654464"/>
                    <a:pt x="4876228" y="2762859"/>
                  </a:cubicBezTo>
                  <a:lnTo>
                    <a:pt x="4876228" y="2791764"/>
                  </a:lnTo>
                  <a:cubicBezTo>
                    <a:pt x="4876228" y="2900159"/>
                    <a:pt x="4782496" y="2994101"/>
                    <a:pt x="4659920" y="2994101"/>
                  </a:cubicBezTo>
                  <a:cubicBezTo>
                    <a:pt x="2446370" y="2994101"/>
                    <a:pt x="2446370" y="2994101"/>
                    <a:pt x="2446370" y="2994101"/>
                  </a:cubicBezTo>
                  <a:cubicBezTo>
                    <a:pt x="2323796" y="2994101"/>
                    <a:pt x="2222852" y="2900159"/>
                    <a:pt x="2222852" y="2791764"/>
                  </a:cubicBezTo>
                  <a:cubicBezTo>
                    <a:pt x="2222852" y="2762859"/>
                    <a:pt x="2222852" y="2762859"/>
                    <a:pt x="2222852" y="2762859"/>
                  </a:cubicBezTo>
                  <a:cubicBezTo>
                    <a:pt x="2222852" y="2654464"/>
                    <a:pt x="2323796" y="2560522"/>
                    <a:pt x="2446370" y="2560522"/>
                  </a:cubicBezTo>
                  <a:close/>
                  <a:moveTo>
                    <a:pt x="845170" y="2331519"/>
                  </a:moveTo>
                  <a:cubicBezTo>
                    <a:pt x="845170" y="2331519"/>
                    <a:pt x="845170" y="2331519"/>
                    <a:pt x="1954772" y="2331519"/>
                  </a:cubicBezTo>
                  <a:cubicBezTo>
                    <a:pt x="1976386" y="2331519"/>
                    <a:pt x="1990796" y="2345768"/>
                    <a:pt x="1990796" y="2367141"/>
                  </a:cubicBezTo>
                  <a:cubicBezTo>
                    <a:pt x="1990796" y="2367141"/>
                    <a:pt x="1990796" y="2367141"/>
                    <a:pt x="1990796" y="2381390"/>
                  </a:cubicBezTo>
                  <a:cubicBezTo>
                    <a:pt x="1990796" y="2402764"/>
                    <a:pt x="1976386" y="2417013"/>
                    <a:pt x="1954772" y="2417013"/>
                  </a:cubicBezTo>
                  <a:cubicBezTo>
                    <a:pt x="1954772" y="2417013"/>
                    <a:pt x="1954772" y="2417013"/>
                    <a:pt x="845170" y="2417013"/>
                  </a:cubicBezTo>
                  <a:cubicBezTo>
                    <a:pt x="823554" y="2417013"/>
                    <a:pt x="809144" y="2402764"/>
                    <a:pt x="809144" y="2381390"/>
                  </a:cubicBezTo>
                  <a:cubicBezTo>
                    <a:pt x="809144" y="2381390"/>
                    <a:pt x="809144" y="2381390"/>
                    <a:pt x="809144" y="2367141"/>
                  </a:cubicBezTo>
                  <a:cubicBezTo>
                    <a:pt x="809144" y="2345768"/>
                    <a:pt x="823554" y="2331519"/>
                    <a:pt x="845170" y="2331519"/>
                  </a:cubicBezTo>
                  <a:close/>
                  <a:moveTo>
                    <a:pt x="845170" y="2041449"/>
                  </a:moveTo>
                  <a:cubicBezTo>
                    <a:pt x="845170" y="2041449"/>
                    <a:pt x="845170" y="2041449"/>
                    <a:pt x="1954772" y="2041449"/>
                  </a:cubicBezTo>
                  <a:cubicBezTo>
                    <a:pt x="1976386" y="2041449"/>
                    <a:pt x="1990796" y="2056207"/>
                    <a:pt x="1990796" y="2078344"/>
                  </a:cubicBezTo>
                  <a:cubicBezTo>
                    <a:pt x="1990796" y="2078344"/>
                    <a:pt x="1990796" y="2078344"/>
                    <a:pt x="1990796" y="2093102"/>
                  </a:cubicBezTo>
                  <a:cubicBezTo>
                    <a:pt x="1990796" y="2115239"/>
                    <a:pt x="1976386" y="2129997"/>
                    <a:pt x="1954772" y="2129997"/>
                  </a:cubicBezTo>
                  <a:cubicBezTo>
                    <a:pt x="1954772" y="2129997"/>
                    <a:pt x="1954772" y="2129997"/>
                    <a:pt x="845170" y="2129997"/>
                  </a:cubicBezTo>
                  <a:cubicBezTo>
                    <a:pt x="823554" y="2129997"/>
                    <a:pt x="809144" y="2115239"/>
                    <a:pt x="809144" y="2093102"/>
                  </a:cubicBezTo>
                  <a:cubicBezTo>
                    <a:pt x="809144" y="2093102"/>
                    <a:pt x="809144" y="2093102"/>
                    <a:pt x="809144" y="2078344"/>
                  </a:cubicBezTo>
                  <a:cubicBezTo>
                    <a:pt x="809144" y="2056207"/>
                    <a:pt x="823554" y="2041449"/>
                    <a:pt x="845170" y="2041449"/>
                  </a:cubicBezTo>
                  <a:close/>
                  <a:moveTo>
                    <a:pt x="3106861" y="1436128"/>
                  </a:moveTo>
                  <a:lnTo>
                    <a:pt x="3279630" y="1679384"/>
                  </a:lnTo>
                  <a:lnTo>
                    <a:pt x="3195994" y="1860133"/>
                  </a:lnTo>
                  <a:lnTo>
                    <a:pt x="3041379" y="1526256"/>
                  </a:lnTo>
                  <a:close/>
                  <a:moveTo>
                    <a:pt x="2784464" y="1128801"/>
                  </a:moveTo>
                  <a:lnTo>
                    <a:pt x="2966034" y="1515688"/>
                  </a:lnTo>
                  <a:lnTo>
                    <a:pt x="2546062" y="2098457"/>
                  </a:lnTo>
                  <a:lnTo>
                    <a:pt x="2538450" y="2093324"/>
                  </a:lnTo>
                  <a:lnTo>
                    <a:pt x="2655989" y="1632500"/>
                  </a:lnTo>
                  <a:cubicBezTo>
                    <a:pt x="2698814" y="1465989"/>
                    <a:pt x="2741639" y="1299479"/>
                    <a:pt x="2784464" y="1128801"/>
                  </a:cubicBezTo>
                  <a:close/>
                  <a:moveTo>
                    <a:pt x="1348411" y="680933"/>
                  </a:moveTo>
                  <a:cubicBezTo>
                    <a:pt x="1420683" y="680933"/>
                    <a:pt x="1492957" y="709761"/>
                    <a:pt x="1507411" y="738588"/>
                  </a:cubicBezTo>
                  <a:cubicBezTo>
                    <a:pt x="1543547" y="789036"/>
                    <a:pt x="1550775" y="889932"/>
                    <a:pt x="1550775" y="889932"/>
                  </a:cubicBezTo>
                  <a:cubicBezTo>
                    <a:pt x="1550775" y="889932"/>
                    <a:pt x="1536319" y="1005242"/>
                    <a:pt x="1507411" y="1041276"/>
                  </a:cubicBezTo>
                  <a:cubicBezTo>
                    <a:pt x="1478501" y="1077311"/>
                    <a:pt x="1464047" y="1142172"/>
                    <a:pt x="1471275" y="1156586"/>
                  </a:cubicBezTo>
                  <a:cubicBezTo>
                    <a:pt x="1500183" y="1185413"/>
                    <a:pt x="1702547" y="1235861"/>
                    <a:pt x="1724227" y="1257482"/>
                  </a:cubicBezTo>
                  <a:cubicBezTo>
                    <a:pt x="1760365" y="1271896"/>
                    <a:pt x="1753137" y="1286309"/>
                    <a:pt x="1760365" y="1322344"/>
                  </a:cubicBezTo>
                  <a:cubicBezTo>
                    <a:pt x="1760365" y="1322344"/>
                    <a:pt x="1774819" y="1488102"/>
                    <a:pt x="1782045" y="1538550"/>
                  </a:cubicBezTo>
                  <a:cubicBezTo>
                    <a:pt x="1782045" y="1567377"/>
                    <a:pt x="1782045" y="1610618"/>
                    <a:pt x="1789273" y="1661066"/>
                  </a:cubicBezTo>
                  <a:cubicBezTo>
                    <a:pt x="1789273" y="1661066"/>
                    <a:pt x="1789273" y="1661066"/>
                    <a:pt x="1008731" y="1661066"/>
                  </a:cubicBezTo>
                  <a:cubicBezTo>
                    <a:pt x="1001503" y="1567377"/>
                    <a:pt x="1008731" y="1452067"/>
                    <a:pt x="1008731" y="1372792"/>
                  </a:cubicBezTo>
                  <a:cubicBezTo>
                    <a:pt x="1008731" y="1293516"/>
                    <a:pt x="1030413" y="1271896"/>
                    <a:pt x="1044867" y="1264689"/>
                  </a:cubicBezTo>
                  <a:cubicBezTo>
                    <a:pt x="1066549" y="1228655"/>
                    <a:pt x="1232775" y="1178207"/>
                    <a:pt x="1268911" y="1156586"/>
                  </a:cubicBezTo>
                  <a:cubicBezTo>
                    <a:pt x="1268911" y="1091724"/>
                    <a:pt x="1232775" y="1077311"/>
                    <a:pt x="1218321" y="1026863"/>
                  </a:cubicBezTo>
                  <a:cubicBezTo>
                    <a:pt x="1196639" y="969208"/>
                    <a:pt x="1196639" y="839484"/>
                    <a:pt x="1203867" y="803450"/>
                  </a:cubicBezTo>
                  <a:cubicBezTo>
                    <a:pt x="1218321" y="709761"/>
                    <a:pt x="1283367" y="680933"/>
                    <a:pt x="1348411" y="680933"/>
                  </a:cubicBezTo>
                  <a:close/>
                  <a:moveTo>
                    <a:pt x="4473179" y="550320"/>
                  </a:moveTo>
                  <a:cubicBezTo>
                    <a:pt x="4409484" y="550320"/>
                    <a:pt x="4357849" y="601955"/>
                    <a:pt x="4357849" y="665650"/>
                  </a:cubicBezTo>
                  <a:cubicBezTo>
                    <a:pt x="4357849" y="681574"/>
                    <a:pt x="4361076" y="696744"/>
                    <a:pt x="4366912" y="710542"/>
                  </a:cubicBezTo>
                  <a:lnTo>
                    <a:pt x="4381211" y="731748"/>
                  </a:lnTo>
                  <a:lnTo>
                    <a:pt x="4020705" y="1187369"/>
                  </a:lnTo>
                  <a:lnTo>
                    <a:pt x="3581985" y="1025953"/>
                  </a:lnTo>
                  <a:lnTo>
                    <a:pt x="3313364" y="1606479"/>
                  </a:lnTo>
                  <a:lnTo>
                    <a:pt x="3107984" y="1318713"/>
                  </a:lnTo>
                  <a:lnTo>
                    <a:pt x="3008924" y="1456172"/>
                  </a:lnTo>
                  <a:lnTo>
                    <a:pt x="2764891" y="929204"/>
                  </a:lnTo>
                  <a:lnTo>
                    <a:pt x="2474691" y="2083778"/>
                  </a:lnTo>
                  <a:lnTo>
                    <a:pt x="2443768" y="2090021"/>
                  </a:lnTo>
                  <a:cubicBezTo>
                    <a:pt x="2402374" y="2107530"/>
                    <a:pt x="2373329" y="2148517"/>
                    <a:pt x="2373329" y="2196288"/>
                  </a:cubicBezTo>
                  <a:cubicBezTo>
                    <a:pt x="2373329" y="2259983"/>
                    <a:pt x="2424964" y="2311618"/>
                    <a:pt x="2488659" y="2311618"/>
                  </a:cubicBezTo>
                  <a:cubicBezTo>
                    <a:pt x="2552354" y="2311618"/>
                    <a:pt x="2603989" y="2259983"/>
                    <a:pt x="2603989" y="2196288"/>
                  </a:cubicBezTo>
                  <a:cubicBezTo>
                    <a:pt x="2603989" y="2180365"/>
                    <a:pt x="2600762" y="2165195"/>
                    <a:pt x="2594926" y="2151397"/>
                  </a:cubicBezTo>
                  <a:lnTo>
                    <a:pt x="2591202" y="2145873"/>
                  </a:lnTo>
                  <a:lnTo>
                    <a:pt x="2998617" y="1585114"/>
                  </a:lnTo>
                  <a:lnTo>
                    <a:pt x="3196260" y="2006249"/>
                  </a:lnTo>
                  <a:lnTo>
                    <a:pt x="3323276" y="1740837"/>
                  </a:lnTo>
                  <a:lnTo>
                    <a:pt x="3475135" y="1954653"/>
                  </a:lnTo>
                  <a:lnTo>
                    <a:pt x="4009339" y="1650537"/>
                  </a:lnTo>
                  <a:lnTo>
                    <a:pt x="4199709" y="1913604"/>
                  </a:lnTo>
                  <a:lnTo>
                    <a:pt x="4529157" y="1580232"/>
                  </a:lnTo>
                  <a:lnTo>
                    <a:pt x="4543618" y="1589982"/>
                  </a:lnTo>
                  <a:cubicBezTo>
                    <a:pt x="4557416" y="1595818"/>
                    <a:pt x="4572586" y="1599045"/>
                    <a:pt x="4588509" y="1599045"/>
                  </a:cubicBezTo>
                  <a:cubicBezTo>
                    <a:pt x="4652204" y="1599045"/>
                    <a:pt x="4703839" y="1547410"/>
                    <a:pt x="4703839" y="1483715"/>
                  </a:cubicBezTo>
                  <a:cubicBezTo>
                    <a:pt x="4703839" y="1420020"/>
                    <a:pt x="4652204" y="1368385"/>
                    <a:pt x="4588509" y="1368385"/>
                  </a:cubicBezTo>
                  <a:cubicBezTo>
                    <a:pt x="4524814" y="1368385"/>
                    <a:pt x="4473179" y="1420020"/>
                    <a:pt x="4473179" y="1483715"/>
                  </a:cubicBezTo>
                  <a:lnTo>
                    <a:pt x="4480139" y="1518186"/>
                  </a:lnTo>
                  <a:lnTo>
                    <a:pt x="4217485" y="1798164"/>
                  </a:lnTo>
                  <a:lnTo>
                    <a:pt x="4037504" y="1560366"/>
                  </a:lnTo>
                  <a:lnTo>
                    <a:pt x="3498455" y="1865818"/>
                  </a:lnTo>
                  <a:lnTo>
                    <a:pt x="3357787" y="1668722"/>
                  </a:lnTo>
                  <a:lnTo>
                    <a:pt x="3620404" y="1119958"/>
                  </a:lnTo>
                  <a:lnTo>
                    <a:pt x="4047072" y="1271366"/>
                  </a:lnTo>
                  <a:lnTo>
                    <a:pt x="4431112" y="772487"/>
                  </a:lnTo>
                  <a:lnTo>
                    <a:pt x="4473179" y="780980"/>
                  </a:lnTo>
                  <a:cubicBezTo>
                    <a:pt x="4536874" y="780980"/>
                    <a:pt x="4588509" y="729345"/>
                    <a:pt x="4588509" y="665650"/>
                  </a:cubicBezTo>
                  <a:cubicBezTo>
                    <a:pt x="4588509" y="601955"/>
                    <a:pt x="4536874" y="550320"/>
                    <a:pt x="4473179" y="550320"/>
                  </a:cubicBezTo>
                  <a:close/>
                  <a:moveTo>
                    <a:pt x="924425" y="479411"/>
                  </a:moveTo>
                  <a:cubicBezTo>
                    <a:pt x="924425" y="479411"/>
                    <a:pt x="924425" y="479411"/>
                    <a:pt x="1875513" y="479411"/>
                  </a:cubicBezTo>
                  <a:cubicBezTo>
                    <a:pt x="1940359" y="479411"/>
                    <a:pt x="1990795" y="529847"/>
                    <a:pt x="1990795" y="594694"/>
                  </a:cubicBezTo>
                  <a:cubicBezTo>
                    <a:pt x="1990795" y="594694"/>
                    <a:pt x="1990795" y="594694"/>
                    <a:pt x="1990795" y="1545784"/>
                  </a:cubicBezTo>
                  <a:cubicBezTo>
                    <a:pt x="1990795" y="1610631"/>
                    <a:pt x="1940359" y="1661067"/>
                    <a:pt x="1875513" y="1661067"/>
                  </a:cubicBezTo>
                  <a:cubicBezTo>
                    <a:pt x="1875513" y="1661067"/>
                    <a:pt x="1875513" y="1661067"/>
                    <a:pt x="1846691" y="1661067"/>
                  </a:cubicBezTo>
                  <a:cubicBezTo>
                    <a:pt x="1839487" y="1610631"/>
                    <a:pt x="1839487" y="1560194"/>
                    <a:pt x="1839487" y="1531373"/>
                  </a:cubicBezTo>
                  <a:cubicBezTo>
                    <a:pt x="1832281" y="1480937"/>
                    <a:pt x="1817871" y="1315217"/>
                    <a:pt x="1817871" y="1315217"/>
                  </a:cubicBezTo>
                  <a:cubicBezTo>
                    <a:pt x="1817871" y="1315217"/>
                    <a:pt x="1817871" y="1315217"/>
                    <a:pt x="1817871" y="1308011"/>
                  </a:cubicBezTo>
                  <a:cubicBezTo>
                    <a:pt x="1817871" y="1308011"/>
                    <a:pt x="1817871" y="1308011"/>
                    <a:pt x="1817871" y="1300806"/>
                  </a:cubicBezTo>
                  <a:cubicBezTo>
                    <a:pt x="1810665" y="1300806"/>
                    <a:pt x="1810665" y="1293601"/>
                    <a:pt x="1810665" y="1293601"/>
                  </a:cubicBezTo>
                  <a:cubicBezTo>
                    <a:pt x="1810665" y="1264780"/>
                    <a:pt x="1803461" y="1228754"/>
                    <a:pt x="1753025" y="1207138"/>
                  </a:cubicBezTo>
                  <a:cubicBezTo>
                    <a:pt x="1738613" y="1192728"/>
                    <a:pt x="1716999" y="1185523"/>
                    <a:pt x="1666561" y="1171112"/>
                  </a:cubicBezTo>
                  <a:cubicBezTo>
                    <a:pt x="1630535" y="1163907"/>
                    <a:pt x="1565689" y="1142291"/>
                    <a:pt x="1529663" y="1127881"/>
                  </a:cubicBezTo>
                  <a:cubicBezTo>
                    <a:pt x="1536867" y="1113471"/>
                    <a:pt x="1544073" y="1091855"/>
                    <a:pt x="1551279" y="1077444"/>
                  </a:cubicBezTo>
                  <a:cubicBezTo>
                    <a:pt x="1587305" y="1034213"/>
                    <a:pt x="1601715" y="933340"/>
                    <a:pt x="1608919" y="904519"/>
                  </a:cubicBezTo>
                  <a:cubicBezTo>
                    <a:pt x="1608919" y="904519"/>
                    <a:pt x="1608919" y="904519"/>
                    <a:pt x="1608919" y="897314"/>
                  </a:cubicBezTo>
                  <a:cubicBezTo>
                    <a:pt x="1608919" y="897314"/>
                    <a:pt x="1608919" y="897314"/>
                    <a:pt x="1608919" y="890109"/>
                  </a:cubicBezTo>
                  <a:cubicBezTo>
                    <a:pt x="1608919" y="875698"/>
                    <a:pt x="1601715" y="767620"/>
                    <a:pt x="1558483" y="702773"/>
                  </a:cubicBezTo>
                  <a:cubicBezTo>
                    <a:pt x="1522457" y="659541"/>
                    <a:pt x="1435995" y="623515"/>
                    <a:pt x="1349533" y="623515"/>
                  </a:cubicBezTo>
                  <a:cubicBezTo>
                    <a:pt x="1241455" y="623515"/>
                    <a:pt x="1162197" y="688363"/>
                    <a:pt x="1147787" y="796441"/>
                  </a:cubicBezTo>
                  <a:cubicBezTo>
                    <a:pt x="1140581" y="832467"/>
                    <a:pt x="1140581" y="976571"/>
                    <a:pt x="1162197" y="1041418"/>
                  </a:cubicBezTo>
                  <a:cubicBezTo>
                    <a:pt x="1176607" y="1070239"/>
                    <a:pt x="1183813" y="1091855"/>
                    <a:pt x="1198223" y="1106265"/>
                  </a:cubicBezTo>
                  <a:cubicBezTo>
                    <a:pt x="1198223" y="1113471"/>
                    <a:pt x="1205429" y="1113471"/>
                    <a:pt x="1205429" y="1120676"/>
                  </a:cubicBezTo>
                  <a:cubicBezTo>
                    <a:pt x="1191019" y="1127881"/>
                    <a:pt x="1176607" y="1135086"/>
                    <a:pt x="1162197" y="1135086"/>
                  </a:cubicBezTo>
                  <a:cubicBezTo>
                    <a:pt x="1075735" y="1171112"/>
                    <a:pt x="1025299" y="1192728"/>
                    <a:pt x="996477" y="1228754"/>
                  </a:cubicBezTo>
                  <a:cubicBezTo>
                    <a:pt x="974861" y="1257575"/>
                    <a:pt x="953247" y="1293601"/>
                    <a:pt x="953247" y="1372858"/>
                  </a:cubicBezTo>
                  <a:cubicBezTo>
                    <a:pt x="953247" y="1387269"/>
                    <a:pt x="953247" y="1401679"/>
                    <a:pt x="953247" y="1416090"/>
                  </a:cubicBezTo>
                  <a:cubicBezTo>
                    <a:pt x="953247" y="1516963"/>
                    <a:pt x="946041" y="1596220"/>
                    <a:pt x="953247" y="1661067"/>
                  </a:cubicBezTo>
                  <a:cubicBezTo>
                    <a:pt x="953247" y="1661067"/>
                    <a:pt x="953247" y="1661067"/>
                    <a:pt x="924425" y="1661067"/>
                  </a:cubicBezTo>
                  <a:cubicBezTo>
                    <a:pt x="859579" y="1661067"/>
                    <a:pt x="809143" y="1610631"/>
                    <a:pt x="809143" y="1545784"/>
                  </a:cubicBezTo>
                  <a:cubicBezTo>
                    <a:pt x="809143" y="1545784"/>
                    <a:pt x="809143" y="1545784"/>
                    <a:pt x="809143" y="594694"/>
                  </a:cubicBezTo>
                  <a:cubicBezTo>
                    <a:pt x="809143" y="529847"/>
                    <a:pt x="859579" y="479411"/>
                    <a:pt x="924425" y="479411"/>
                  </a:cubicBezTo>
                  <a:close/>
                  <a:moveTo>
                    <a:pt x="2313880" y="395700"/>
                  </a:moveTo>
                  <a:lnTo>
                    <a:pt x="4804846" y="395700"/>
                  </a:lnTo>
                  <a:cubicBezTo>
                    <a:pt x="4859987" y="395700"/>
                    <a:pt x="4904687" y="440400"/>
                    <a:pt x="4904687" y="495541"/>
                  </a:cubicBezTo>
                  <a:lnTo>
                    <a:pt x="4904687" y="2366397"/>
                  </a:lnTo>
                  <a:cubicBezTo>
                    <a:pt x="4904687" y="2421538"/>
                    <a:pt x="4859987" y="2466238"/>
                    <a:pt x="4804846" y="2466238"/>
                  </a:cubicBezTo>
                  <a:lnTo>
                    <a:pt x="2313880" y="2466238"/>
                  </a:lnTo>
                  <a:cubicBezTo>
                    <a:pt x="2258739" y="2466238"/>
                    <a:pt x="2214039" y="2421538"/>
                    <a:pt x="2214039" y="2366397"/>
                  </a:cubicBezTo>
                  <a:lnTo>
                    <a:pt x="2214039" y="495541"/>
                  </a:lnTo>
                  <a:cubicBezTo>
                    <a:pt x="2214039" y="440400"/>
                    <a:pt x="2258739" y="395700"/>
                    <a:pt x="2313880" y="395700"/>
                  </a:cubicBezTo>
                  <a:close/>
                  <a:moveTo>
                    <a:pt x="575889" y="225891"/>
                  </a:moveTo>
                  <a:lnTo>
                    <a:pt x="575889" y="3334021"/>
                  </a:lnTo>
                  <a:lnTo>
                    <a:pt x="5090355" y="3334021"/>
                  </a:lnTo>
                  <a:lnTo>
                    <a:pt x="5090355" y="225891"/>
                  </a:lnTo>
                  <a:close/>
                  <a:moveTo>
                    <a:pt x="521327" y="0"/>
                  </a:moveTo>
                  <a:lnTo>
                    <a:pt x="5144918" y="0"/>
                  </a:lnTo>
                  <a:cubicBezTo>
                    <a:pt x="5230856" y="0"/>
                    <a:pt x="5300522" y="69666"/>
                    <a:pt x="5300522" y="155604"/>
                  </a:cubicBezTo>
                  <a:lnTo>
                    <a:pt x="5300522" y="3404308"/>
                  </a:lnTo>
                  <a:cubicBezTo>
                    <a:pt x="5300522" y="3490246"/>
                    <a:pt x="5230856" y="3559912"/>
                    <a:pt x="5144918" y="3559912"/>
                  </a:cubicBezTo>
                  <a:lnTo>
                    <a:pt x="521327" y="3559912"/>
                  </a:lnTo>
                  <a:cubicBezTo>
                    <a:pt x="435389" y="3559912"/>
                    <a:pt x="365723" y="3490246"/>
                    <a:pt x="365723" y="3404308"/>
                  </a:cubicBezTo>
                  <a:lnTo>
                    <a:pt x="365723" y="155604"/>
                  </a:lnTo>
                  <a:cubicBezTo>
                    <a:pt x="365723" y="69666"/>
                    <a:pt x="435389" y="0"/>
                    <a:pt x="521327"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a:ex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sp>
          <p:nvSpPr>
            <p:cNvPr id="97" name="Rectangle 96"/>
            <p:cNvSpPr/>
            <p:nvPr/>
          </p:nvSpPr>
          <p:spPr bwMode="auto">
            <a:xfrm>
              <a:off x="8509742" y="2456056"/>
              <a:ext cx="3359222" cy="75916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rket Leading Price &amp; Performance</a:t>
              </a:r>
            </a:p>
          </p:txBody>
        </p:sp>
        <p:sp>
          <p:nvSpPr>
            <p:cNvPr id="98" name="TextBox 97"/>
            <p:cNvSpPr txBox="1"/>
            <p:nvPr/>
          </p:nvSpPr>
          <p:spPr>
            <a:xfrm>
              <a:off x="8456548" y="4913530"/>
              <a:ext cx="3680328" cy="1031157"/>
            </a:xfrm>
            <a:prstGeom prst="rect">
              <a:avLst/>
            </a:prstGeom>
            <a:noFill/>
            <a:ln>
              <a:noFill/>
            </a:ln>
          </p:spPr>
          <p:txBody>
            <a:bodyPr wrap="square" lIns="182854" tIns="146284" rIns="182854" bIns="146284" rtlCol="0">
              <a:spAutoFit/>
            </a:bodyPr>
            <a:lstStyle>
              <a:defPPr>
                <a:defRPr lang="en-US"/>
              </a:defPPr>
              <a:lvl1pPr>
                <a:lnSpc>
                  <a:spcPct val="90000"/>
                </a:lnSpc>
                <a:spcAft>
                  <a:spcPts val="1200"/>
                </a:spcAft>
                <a:defRPr sz="1400">
                  <a:gradFill>
                    <a:gsLst>
                      <a:gs pos="2917">
                        <a:srgbClr val="000000"/>
                      </a:gs>
                      <a:gs pos="30000">
                        <a:srgbClr val="000000"/>
                      </a:gs>
                    </a:gsLst>
                    <a:lin ang="5400000" scaled="0"/>
                  </a:gradFill>
                </a:defRPr>
              </a:lvl1pPr>
            </a:lstStyle>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imple billing compute &amp; storage</a:t>
              </a:r>
            </a:p>
            <a:p>
              <a:pPr marL="0" marR="0" lvl="0" indent="0" algn="l" defTabSz="932742"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ay for what you need, when you need it with dynamic pause</a:t>
              </a:r>
            </a:p>
          </p:txBody>
        </p:sp>
        <p:grpSp>
          <p:nvGrpSpPr>
            <p:cNvPr id="99" name="Group 98"/>
            <p:cNvGrpSpPr>
              <a:grpSpLocks noChangeAspect="1"/>
            </p:cNvGrpSpPr>
            <p:nvPr/>
          </p:nvGrpSpPr>
          <p:grpSpPr>
            <a:xfrm>
              <a:off x="10945221" y="3461642"/>
              <a:ext cx="428529" cy="264350"/>
              <a:chOff x="1691870" y="-5380374"/>
              <a:chExt cx="5029200" cy="3102395"/>
            </a:xfrm>
          </p:grpSpPr>
          <p:grpSp>
            <p:nvGrpSpPr>
              <p:cNvPr id="129" name="Group 128"/>
              <p:cNvGrpSpPr/>
              <p:nvPr/>
            </p:nvGrpSpPr>
            <p:grpSpPr>
              <a:xfrm>
                <a:off x="1691870" y="-5380374"/>
                <a:ext cx="5029200" cy="3102395"/>
                <a:chOff x="1691870" y="-5380374"/>
                <a:chExt cx="5029200" cy="3102395"/>
              </a:xfrm>
            </p:grpSpPr>
            <p:grpSp>
              <p:nvGrpSpPr>
                <p:cNvPr id="131" name="Group 130"/>
                <p:cNvGrpSpPr/>
                <p:nvPr/>
              </p:nvGrpSpPr>
              <p:grpSpPr>
                <a:xfrm>
                  <a:off x="1691870" y="-5380374"/>
                  <a:ext cx="5029200" cy="3102395"/>
                  <a:chOff x="1691870" y="-5380374"/>
                  <a:chExt cx="5029200" cy="3102395"/>
                </a:xfrm>
              </p:grpSpPr>
              <p:sp>
                <p:nvSpPr>
                  <p:cNvPr id="135" name="Rounded Rectangle 134"/>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36" name="Round Same Side Corner Rectangle 135"/>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cxnSp>
              <p:nvCxnSpPr>
                <p:cNvPr id="132" name="Straight Connector 131"/>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33" name="Frame 132"/>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000000"/>
                    </a:solidFill>
                    <a:effectLst/>
                    <a:uLnTx/>
                    <a:uFillTx/>
                    <a:latin typeface="Segoe"/>
                    <a:ea typeface="+mn-ea"/>
                    <a:cs typeface="+mn-cs"/>
                  </a:endParaRPr>
                </a:p>
              </p:txBody>
            </p:sp>
            <p:sp>
              <p:nvSpPr>
                <p:cNvPr id="134" name="Multiply 133"/>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sp>
            <p:nvSpPr>
              <p:cNvPr id="130"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FA8F07"/>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998"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a:ea typeface="Segoe UI" pitchFamily="34" charset="0"/>
                  <a:cs typeface="Segoe UI" pitchFamily="34" charset="0"/>
                </a:endParaRPr>
              </a:p>
            </p:txBody>
          </p:sp>
        </p:grpSp>
        <p:grpSp>
          <p:nvGrpSpPr>
            <p:cNvPr id="100" name="Group 99"/>
            <p:cNvGrpSpPr>
              <a:grpSpLocks noChangeAspect="1"/>
            </p:cNvGrpSpPr>
            <p:nvPr/>
          </p:nvGrpSpPr>
          <p:grpSpPr>
            <a:xfrm>
              <a:off x="11389026" y="3259197"/>
              <a:ext cx="312699" cy="312700"/>
              <a:chOff x="4322558" y="-150269"/>
              <a:chExt cx="300538" cy="300538"/>
            </a:xfrm>
          </p:grpSpPr>
          <p:sp>
            <p:nvSpPr>
              <p:cNvPr id="124" name="Oval 123"/>
              <p:cNvSpPr/>
              <p:nvPr/>
            </p:nvSpPr>
            <p:spPr>
              <a:xfrm>
                <a:off x="4322558" y="-150269"/>
                <a:ext cx="300538" cy="300538"/>
              </a:xfrm>
              <a:prstGeom prst="ellipse">
                <a:avLst/>
              </a:prstGeom>
              <a:solidFill>
                <a:srgbClr val="5261D2"/>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nvGrpSpPr>
              <p:cNvPr id="125" name="Group 124"/>
              <p:cNvGrpSpPr>
                <a:grpSpLocks noChangeAspect="1"/>
              </p:cNvGrpSpPr>
              <p:nvPr/>
            </p:nvGrpSpPr>
            <p:grpSpPr>
              <a:xfrm>
                <a:off x="4384955" y="-98434"/>
                <a:ext cx="175744" cy="196869"/>
                <a:chOff x="-459430" y="-5122871"/>
                <a:chExt cx="1512104" cy="1693868"/>
              </a:xfrm>
            </p:grpSpPr>
            <p:sp>
              <p:nvSpPr>
                <p:cNvPr id="126" name="Freeform 125"/>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AC4E8E"/>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7" name="Freeform 126"/>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693178"/>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8" name="Freeform 127"/>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3E2A5D"/>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grpSp>
        <p:grpSp>
          <p:nvGrpSpPr>
            <p:cNvPr id="101" name="Group 100"/>
            <p:cNvGrpSpPr>
              <a:grpSpLocks noChangeAspect="1"/>
            </p:cNvGrpSpPr>
            <p:nvPr/>
          </p:nvGrpSpPr>
          <p:grpSpPr>
            <a:xfrm>
              <a:off x="10557384" y="3339987"/>
              <a:ext cx="345869" cy="345870"/>
              <a:chOff x="4322558" y="-150269"/>
              <a:chExt cx="300538" cy="300538"/>
            </a:xfrm>
          </p:grpSpPr>
          <p:sp>
            <p:nvSpPr>
              <p:cNvPr id="119" name="Oval 118"/>
              <p:cNvSpPr/>
              <p:nvPr/>
            </p:nvSpPr>
            <p:spPr>
              <a:xfrm>
                <a:off x="4322558" y="-150269"/>
                <a:ext cx="300538" cy="300538"/>
              </a:xfrm>
              <a:prstGeom prst="ellipse">
                <a:avLst/>
              </a:prstGeom>
              <a:solidFill>
                <a:srgbClr val="13A8A1"/>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nvGrpSpPr>
              <p:cNvPr id="120" name="Group 119"/>
              <p:cNvGrpSpPr>
                <a:grpSpLocks noChangeAspect="1"/>
              </p:cNvGrpSpPr>
              <p:nvPr/>
            </p:nvGrpSpPr>
            <p:grpSpPr>
              <a:xfrm>
                <a:off x="4384955" y="-98434"/>
                <a:ext cx="175744" cy="196869"/>
                <a:chOff x="-459430" y="-5122871"/>
                <a:chExt cx="1512104" cy="1693868"/>
              </a:xfrm>
            </p:grpSpPr>
            <p:sp>
              <p:nvSpPr>
                <p:cNvPr id="121" name="Freeform 120"/>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48BB4E"/>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2" name="Freeform 121"/>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008641"/>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23" name="Freeform 122"/>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00602E"/>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grpSp>
        <p:sp>
          <p:nvSpPr>
            <p:cNvPr id="102" name="Freeform 101"/>
            <p:cNvSpPr/>
            <p:nvPr/>
          </p:nvSpPr>
          <p:spPr>
            <a:xfrm>
              <a:off x="10226236"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998" b="0" i="0" u="none" strike="noStrike" kern="0" cap="none" spc="0" normalizeH="0" baseline="0" noProof="0" dirty="0">
                  <a:ln>
                    <a:noFill/>
                  </a:ln>
                  <a:solidFill>
                    <a:srgbClr val="FFFFFF"/>
                  </a:solidFill>
                  <a:effectLst/>
                  <a:uLnTx/>
                  <a:uFillTx/>
                  <a:latin typeface="Segoe Light"/>
                  <a:ea typeface="+mn-ea"/>
                  <a:cs typeface="+mn-cs"/>
                </a:rPr>
                <a:t>Azure</a:t>
              </a:r>
            </a:p>
          </p:txBody>
        </p:sp>
        <p:sp>
          <p:nvSpPr>
            <p:cNvPr id="103" name="Freeform 102"/>
            <p:cNvSpPr/>
            <p:nvPr/>
          </p:nvSpPr>
          <p:spPr>
            <a:xfrm>
              <a:off x="10271777" y="3731764"/>
              <a:ext cx="1231043" cy="81684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flip="none" rotWithShape="1">
              <a:gsLst>
                <a:gs pos="57000">
                  <a:srgbClr val="209FE8"/>
                </a:gs>
                <a:gs pos="58000">
                  <a:srgbClr val="2EAFE5"/>
                </a:gs>
              </a:gsLst>
              <a:lin ang="19200000" scaled="0"/>
              <a:tileRect/>
            </a:gradFill>
            <a:ln w="12700" cap="flat" cmpd="sng" algn="ctr">
              <a:noFill/>
              <a:prstDash val="solid"/>
              <a:miter lim="800000"/>
            </a:ln>
            <a:effectLst/>
          </p:spPr>
          <p:txBody>
            <a:bodyPr rtlCol="0" anchor="ctr"/>
            <a:lstStyle/>
            <a:p>
              <a:pPr marL="0" marR="0" lvl="0" indent="0" algn="ctr" defTabSz="506845" rtl="0" eaLnBrk="1" fontAlgn="auto" latinLnBrk="0" hangingPunct="1">
                <a:lnSpc>
                  <a:spcPct val="8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Light"/>
                  <a:ea typeface="+mn-ea"/>
                  <a:cs typeface="+mn-cs"/>
                </a:rPr>
                <a:t>Azure</a:t>
              </a:r>
              <a:endParaRPr kumimoji="0" lang="en-US" sz="998" b="0" i="0" u="none" strike="noStrike" kern="0" cap="none" spc="0" normalizeH="0" baseline="0" noProof="0" dirty="0">
                <a:ln>
                  <a:noFill/>
                </a:ln>
                <a:solidFill>
                  <a:srgbClr val="FFFFFF"/>
                </a:solidFill>
                <a:effectLst/>
                <a:uLnTx/>
                <a:uFillTx/>
                <a:latin typeface="Segoe Light"/>
                <a:ea typeface="+mn-ea"/>
                <a:cs typeface="+mn-cs"/>
              </a:endParaRPr>
            </a:p>
          </p:txBody>
        </p:sp>
        <p:grpSp>
          <p:nvGrpSpPr>
            <p:cNvPr id="104" name="Group 103"/>
            <p:cNvGrpSpPr>
              <a:grpSpLocks noChangeAspect="1"/>
            </p:cNvGrpSpPr>
            <p:nvPr/>
          </p:nvGrpSpPr>
          <p:grpSpPr>
            <a:xfrm>
              <a:off x="10095958" y="3927652"/>
              <a:ext cx="428529" cy="264350"/>
              <a:chOff x="1691870" y="-5380374"/>
              <a:chExt cx="5029200" cy="3102395"/>
            </a:xfrm>
          </p:grpSpPr>
          <p:grpSp>
            <p:nvGrpSpPr>
              <p:cNvPr id="111" name="Group 110"/>
              <p:cNvGrpSpPr/>
              <p:nvPr/>
            </p:nvGrpSpPr>
            <p:grpSpPr>
              <a:xfrm>
                <a:off x="1691870" y="-5380374"/>
                <a:ext cx="5029200" cy="3102395"/>
                <a:chOff x="1691870" y="-5380374"/>
                <a:chExt cx="5029200" cy="3102395"/>
              </a:xfrm>
            </p:grpSpPr>
            <p:grpSp>
              <p:nvGrpSpPr>
                <p:cNvPr id="113" name="Group 112"/>
                <p:cNvGrpSpPr/>
                <p:nvPr/>
              </p:nvGrpSpPr>
              <p:grpSpPr>
                <a:xfrm>
                  <a:off x="1691870" y="-5380374"/>
                  <a:ext cx="5029200" cy="3102395"/>
                  <a:chOff x="1691870" y="-5380374"/>
                  <a:chExt cx="5029200" cy="3102395"/>
                </a:xfrm>
              </p:grpSpPr>
              <p:sp>
                <p:nvSpPr>
                  <p:cNvPr id="117" name="Rounded Rectangle 116"/>
                  <p:cNvSpPr/>
                  <p:nvPr/>
                </p:nvSpPr>
                <p:spPr>
                  <a:xfrm>
                    <a:off x="1691870" y="-5245767"/>
                    <a:ext cx="5029200" cy="2967788"/>
                  </a:xfrm>
                  <a:prstGeom prst="roundRect">
                    <a:avLst>
                      <a:gd name="adj" fmla="val 9165"/>
                    </a:avLst>
                  </a:prstGeom>
                  <a:solidFill>
                    <a:srgbClr val="E4E2E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18" name="Round Same Side Corner Rectangle 117"/>
                  <p:cNvSpPr/>
                  <p:nvPr/>
                </p:nvSpPr>
                <p:spPr>
                  <a:xfrm>
                    <a:off x="1691870" y="-5380374"/>
                    <a:ext cx="5029200" cy="352926"/>
                  </a:xfrm>
                  <a:prstGeom prst="round2SameRect">
                    <a:avLst>
                      <a:gd name="adj1" fmla="val 42938"/>
                      <a:gd name="adj2" fmla="val 0"/>
                    </a:avLst>
                  </a:prstGeom>
                  <a:solidFill>
                    <a:srgbClr val="B5ADB6"/>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cxnSp>
              <p:nvCxnSpPr>
                <p:cNvPr id="114" name="Straight Connector 113"/>
                <p:cNvCxnSpPr/>
                <p:nvPr/>
              </p:nvCxnSpPr>
              <p:spPr>
                <a:xfrm>
                  <a:off x="1783901" y="-5198097"/>
                  <a:ext cx="187036" cy="0"/>
                </a:xfrm>
                <a:prstGeom prst="line">
                  <a:avLst/>
                </a:prstGeom>
                <a:noFill/>
                <a:ln w="3175" cap="flat" cmpd="sng" algn="ctr">
                  <a:solidFill>
                    <a:srgbClr val="024D84"/>
                  </a:solidFill>
                  <a:prstDash val="solid"/>
                  <a:miter lim="800000"/>
                </a:ln>
                <a:effectLst/>
              </p:spPr>
            </p:cxnSp>
            <p:sp>
              <p:nvSpPr>
                <p:cNvPr id="115" name="Frame 114"/>
                <p:cNvSpPr/>
                <p:nvPr/>
              </p:nvSpPr>
              <p:spPr>
                <a:xfrm>
                  <a:off x="2099107" y="-5282089"/>
                  <a:ext cx="263791" cy="167985"/>
                </a:xfrm>
                <a:prstGeom prst="frame">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000000"/>
                    </a:solidFill>
                    <a:effectLst/>
                    <a:uLnTx/>
                    <a:uFillTx/>
                    <a:latin typeface="Segoe"/>
                    <a:ea typeface="+mn-ea"/>
                    <a:cs typeface="+mn-cs"/>
                  </a:endParaRPr>
                </a:p>
              </p:txBody>
            </p:sp>
            <p:sp>
              <p:nvSpPr>
                <p:cNvPr id="116" name="Multiply 115"/>
                <p:cNvSpPr/>
                <p:nvPr/>
              </p:nvSpPr>
              <p:spPr>
                <a:xfrm>
                  <a:off x="2399687" y="-5344597"/>
                  <a:ext cx="293001" cy="293001"/>
                </a:xfrm>
                <a:prstGeom prst="mathMultiply">
                  <a:avLst>
                    <a:gd name="adj1" fmla="val 16001"/>
                  </a:avLst>
                </a:prstGeom>
                <a:solidFill>
                  <a:srgbClr val="024D84"/>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sp>
            <p:nvSpPr>
              <p:cNvPr id="112" name="Donut 59"/>
              <p:cNvSpPr>
                <a:spLocks noChangeAspect="1"/>
              </p:cNvSpPr>
              <p:nvPr/>
            </p:nvSpPr>
            <p:spPr bwMode="auto">
              <a:xfrm>
                <a:off x="3004493" y="-4604748"/>
                <a:ext cx="2419895" cy="2012540"/>
              </a:xfrm>
              <a:custGeom>
                <a:avLst/>
                <a:gdLst/>
                <a:ahLst/>
                <a:cxnLst/>
                <a:rect l="l" t="t" r="r" b="b"/>
                <a:pathLst>
                  <a:path w="1049699" h="873224">
                    <a:moveTo>
                      <a:pt x="694504" y="413534"/>
                    </a:moveTo>
                    <a:cubicBezTo>
                      <a:pt x="732475" y="413534"/>
                      <a:pt x="763257" y="444315"/>
                      <a:pt x="763257" y="482286"/>
                    </a:cubicBezTo>
                    <a:cubicBezTo>
                      <a:pt x="763257" y="520258"/>
                      <a:pt x="732475" y="551039"/>
                      <a:pt x="694504" y="551039"/>
                    </a:cubicBezTo>
                    <a:cubicBezTo>
                      <a:pt x="656533" y="551039"/>
                      <a:pt x="625751" y="520258"/>
                      <a:pt x="625751" y="482286"/>
                    </a:cubicBezTo>
                    <a:cubicBezTo>
                      <a:pt x="625751" y="444315"/>
                      <a:pt x="656533" y="413534"/>
                      <a:pt x="694504" y="413534"/>
                    </a:cubicBezTo>
                    <a:close/>
                    <a:moveTo>
                      <a:pt x="694504" y="344781"/>
                    </a:moveTo>
                    <a:cubicBezTo>
                      <a:pt x="618562" y="344781"/>
                      <a:pt x="556998" y="406344"/>
                      <a:pt x="556998" y="482286"/>
                    </a:cubicBezTo>
                    <a:cubicBezTo>
                      <a:pt x="556998" y="558229"/>
                      <a:pt x="618562" y="619792"/>
                      <a:pt x="694504" y="619792"/>
                    </a:cubicBezTo>
                    <a:cubicBezTo>
                      <a:pt x="770446" y="619792"/>
                      <a:pt x="832010" y="558229"/>
                      <a:pt x="832010" y="482286"/>
                    </a:cubicBezTo>
                    <a:cubicBezTo>
                      <a:pt x="832010" y="406344"/>
                      <a:pt x="770446" y="344781"/>
                      <a:pt x="694504" y="344781"/>
                    </a:cubicBezTo>
                    <a:close/>
                    <a:moveTo>
                      <a:pt x="197661" y="172436"/>
                    </a:moveTo>
                    <a:cubicBezTo>
                      <a:pt x="219463" y="172436"/>
                      <a:pt x="237138" y="190111"/>
                      <a:pt x="237138" y="211913"/>
                    </a:cubicBezTo>
                    <a:cubicBezTo>
                      <a:pt x="237138" y="233716"/>
                      <a:pt x="219463" y="251390"/>
                      <a:pt x="197661" y="251390"/>
                    </a:cubicBezTo>
                    <a:cubicBezTo>
                      <a:pt x="175858" y="251390"/>
                      <a:pt x="158183" y="233716"/>
                      <a:pt x="158183" y="211913"/>
                    </a:cubicBezTo>
                    <a:cubicBezTo>
                      <a:pt x="158183" y="190111"/>
                      <a:pt x="175858" y="172436"/>
                      <a:pt x="197661" y="172436"/>
                    </a:cubicBezTo>
                    <a:close/>
                    <a:moveTo>
                      <a:pt x="197661" y="132959"/>
                    </a:moveTo>
                    <a:cubicBezTo>
                      <a:pt x="154055" y="132959"/>
                      <a:pt x="118706" y="168308"/>
                      <a:pt x="118706" y="211913"/>
                    </a:cubicBezTo>
                    <a:cubicBezTo>
                      <a:pt x="118706" y="255519"/>
                      <a:pt x="154055" y="290868"/>
                      <a:pt x="197661" y="290868"/>
                    </a:cubicBezTo>
                    <a:cubicBezTo>
                      <a:pt x="241266" y="290868"/>
                      <a:pt x="276615" y="255519"/>
                      <a:pt x="276615" y="211913"/>
                    </a:cubicBezTo>
                    <a:cubicBezTo>
                      <a:pt x="276615" y="168308"/>
                      <a:pt x="241266" y="132959"/>
                      <a:pt x="197661" y="132959"/>
                    </a:cubicBezTo>
                    <a:close/>
                    <a:moveTo>
                      <a:pt x="735148" y="113222"/>
                    </a:moveTo>
                    <a:lnTo>
                      <a:pt x="750778" y="185510"/>
                    </a:lnTo>
                    <a:lnTo>
                      <a:pt x="825020" y="210909"/>
                    </a:lnTo>
                    <a:lnTo>
                      <a:pt x="869956" y="162065"/>
                    </a:lnTo>
                    <a:lnTo>
                      <a:pt x="938336" y="208955"/>
                    </a:lnTo>
                    <a:lnTo>
                      <a:pt x="912938" y="277336"/>
                    </a:lnTo>
                    <a:lnTo>
                      <a:pt x="950059" y="332040"/>
                    </a:lnTo>
                    <a:lnTo>
                      <a:pt x="1026254" y="332040"/>
                    </a:lnTo>
                    <a:lnTo>
                      <a:pt x="1049699" y="418004"/>
                    </a:lnTo>
                    <a:lnTo>
                      <a:pt x="996948" y="459033"/>
                    </a:lnTo>
                    <a:lnTo>
                      <a:pt x="996948" y="523506"/>
                    </a:lnTo>
                    <a:lnTo>
                      <a:pt x="1045792" y="568442"/>
                    </a:lnTo>
                    <a:lnTo>
                      <a:pt x="1028208" y="646591"/>
                    </a:lnTo>
                    <a:lnTo>
                      <a:pt x="944197" y="648545"/>
                    </a:lnTo>
                    <a:lnTo>
                      <a:pt x="914891" y="695434"/>
                    </a:lnTo>
                    <a:lnTo>
                      <a:pt x="932475" y="767723"/>
                    </a:lnTo>
                    <a:lnTo>
                      <a:pt x="869956" y="814612"/>
                    </a:lnTo>
                    <a:lnTo>
                      <a:pt x="813297" y="769676"/>
                    </a:lnTo>
                    <a:lnTo>
                      <a:pt x="750778" y="797029"/>
                    </a:lnTo>
                    <a:lnTo>
                      <a:pt x="737102" y="865409"/>
                    </a:lnTo>
                    <a:lnTo>
                      <a:pt x="656998" y="873224"/>
                    </a:lnTo>
                    <a:lnTo>
                      <a:pt x="637461" y="789214"/>
                    </a:lnTo>
                    <a:lnTo>
                      <a:pt x="572988" y="769676"/>
                    </a:lnTo>
                    <a:lnTo>
                      <a:pt x="518283" y="814612"/>
                    </a:lnTo>
                    <a:lnTo>
                      <a:pt x="463579" y="765769"/>
                    </a:lnTo>
                    <a:lnTo>
                      <a:pt x="483116" y="701296"/>
                    </a:lnTo>
                    <a:lnTo>
                      <a:pt x="442088" y="646591"/>
                    </a:lnTo>
                    <a:lnTo>
                      <a:pt x="365892" y="644637"/>
                    </a:lnTo>
                    <a:lnTo>
                      <a:pt x="350262" y="568442"/>
                    </a:lnTo>
                    <a:lnTo>
                      <a:pt x="410828" y="537182"/>
                    </a:lnTo>
                    <a:lnTo>
                      <a:pt x="408874" y="460987"/>
                    </a:lnTo>
                    <a:lnTo>
                      <a:pt x="350262" y="412143"/>
                    </a:lnTo>
                    <a:lnTo>
                      <a:pt x="371753" y="339855"/>
                    </a:lnTo>
                    <a:lnTo>
                      <a:pt x="444041" y="341809"/>
                    </a:lnTo>
                    <a:lnTo>
                      <a:pt x="485070" y="296873"/>
                    </a:lnTo>
                    <a:lnTo>
                      <a:pt x="459671" y="208955"/>
                    </a:lnTo>
                    <a:lnTo>
                      <a:pt x="516330" y="164019"/>
                    </a:lnTo>
                    <a:lnTo>
                      <a:pt x="582757" y="208955"/>
                    </a:lnTo>
                    <a:lnTo>
                      <a:pt x="637461" y="189418"/>
                    </a:lnTo>
                    <a:lnTo>
                      <a:pt x="658952" y="115176"/>
                    </a:lnTo>
                    <a:close/>
                    <a:moveTo>
                      <a:pt x="220998" y="0"/>
                    </a:moveTo>
                    <a:lnTo>
                      <a:pt x="229972" y="41507"/>
                    </a:lnTo>
                    <a:lnTo>
                      <a:pt x="272601" y="56091"/>
                    </a:lnTo>
                    <a:lnTo>
                      <a:pt x="298403" y="28045"/>
                    </a:lnTo>
                    <a:lnTo>
                      <a:pt x="337667" y="54969"/>
                    </a:lnTo>
                    <a:lnTo>
                      <a:pt x="323083" y="94233"/>
                    </a:lnTo>
                    <a:lnTo>
                      <a:pt x="344398" y="125643"/>
                    </a:lnTo>
                    <a:lnTo>
                      <a:pt x="388148" y="125643"/>
                    </a:lnTo>
                    <a:lnTo>
                      <a:pt x="401610" y="175003"/>
                    </a:lnTo>
                    <a:lnTo>
                      <a:pt x="371321" y="198561"/>
                    </a:lnTo>
                    <a:lnTo>
                      <a:pt x="371321" y="235581"/>
                    </a:lnTo>
                    <a:lnTo>
                      <a:pt x="399366" y="261383"/>
                    </a:lnTo>
                    <a:lnTo>
                      <a:pt x="389270" y="306256"/>
                    </a:lnTo>
                    <a:lnTo>
                      <a:pt x="341032" y="307377"/>
                    </a:lnTo>
                    <a:lnTo>
                      <a:pt x="324205" y="334301"/>
                    </a:lnTo>
                    <a:lnTo>
                      <a:pt x="334301" y="375808"/>
                    </a:lnTo>
                    <a:lnTo>
                      <a:pt x="298403" y="402732"/>
                    </a:lnTo>
                    <a:lnTo>
                      <a:pt x="265870" y="376930"/>
                    </a:lnTo>
                    <a:lnTo>
                      <a:pt x="229972" y="392635"/>
                    </a:lnTo>
                    <a:lnTo>
                      <a:pt x="222120" y="431899"/>
                    </a:lnTo>
                    <a:lnTo>
                      <a:pt x="176125" y="436386"/>
                    </a:lnTo>
                    <a:lnTo>
                      <a:pt x="164907" y="388148"/>
                    </a:lnTo>
                    <a:lnTo>
                      <a:pt x="127887" y="376930"/>
                    </a:lnTo>
                    <a:lnTo>
                      <a:pt x="96476" y="402732"/>
                    </a:lnTo>
                    <a:lnTo>
                      <a:pt x="65065" y="374686"/>
                    </a:lnTo>
                    <a:lnTo>
                      <a:pt x="76284" y="337666"/>
                    </a:lnTo>
                    <a:lnTo>
                      <a:pt x="52725" y="306256"/>
                    </a:lnTo>
                    <a:lnTo>
                      <a:pt x="8975" y="305134"/>
                    </a:lnTo>
                    <a:lnTo>
                      <a:pt x="0" y="261383"/>
                    </a:lnTo>
                    <a:lnTo>
                      <a:pt x="34776" y="243434"/>
                    </a:lnTo>
                    <a:lnTo>
                      <a:pt x="33655" y="199683"/>
                    </a:lnTo>
                    <a:lnTo>
                      <a:pt x="0" y="171638"/>
                    </a:lnTo>
                    <a:lnTo>
                      <a:pt x="12340" y="130131"/>
                    </a:lnTo>
                    <a:lnTo>
                      <a:pt x="53847" y="131252"/>
                    </a:lnTo>
                    <a:lnTo>
                      <a:pt x="77405" y="105451"/>
                    </a:lnTo>
                    <a:lnTo>
                      <a:pt x="62822" y="54969"/>
                    </a:lnTo>
                    <a:lnTo>
                      <a:pt x="95354" y="29167"/>
                    </a:lnTo>
                    <a:lnTo>
                      <a:pt x="133496" y="54969"/>
                    </a:lnTo>
                    <a:lnTo>
                      <a:pt x="164907" y="43751"/>
                    </a:lnTo>
                    <a:lnTo>
                      <a:pt x="177247" y="1122"/>
                    </a:lnTo>
                    <a:close/>
                  </a:path>
                </a:pathLst>
              </a:custGeom>
              <a:solidFill>
                <a:srgbClr val="382A4D"/>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998"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a:ea typeface="Segoe UI" pitchFamily="34" charset="0"/>
                  <a:cs typeface="Segoe UI" pitchFamily="34" charset="0"/>
                </a:endParaRPr>
              </a:p>
            </p:txBody>
          </p:sp>
        </p:grpSp>
        <p:grpSp>
          <p:nvGrpSpPr>
            <p:cNvPr id="105" name="Group 104"/>
            <p:cNvGrpSpPr>
              <a:grpSpLocks noChangeAspect="1"/>
            </p:cNvGrpSpPr>
            <p:nvPr/>
          </p:nvGrpSpPr>
          <p:grpSpPr>
            <a:xfrm>
              <a:off x="10147407" y="3584619"/>
              <a:ext cx="251740" cy="251740"/>
              <a:chOff x="4322558" y="-150269"/>
              <a:chExt cx="300538" cy="300538"/>
            </a:xfrm>
            <a:solidFill>
              <a:srgbClr val="FEBE1A"/>
            </a:solidFill>
          </p:grpSpPr>
          <p:sp>
            <p:nvSpPr>
              <p:cNvPr id="106" name="Oval 105"/>
              <p:cNvSpPr/>
              <p:nvPr/>
            </p:nvSpPr>
            <p:spPr>
              <a:xfrm>
                <a:off x="4322558" y="-150269"/>
                <a:ext cx="300538" cy="300538"/>
              </a:xfrm>
              <a:prstGeom prst="ellipse">
                <a:avLst/>
              </a:prstGeom>
              <a:grp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nvGrpSpPr>
              <p:cNvPr id="107" name="Group 106"/>
              <p:cNvGrpSpPr>
                <a:grpSpLocks noChangeAspect="1"/>
              </p:cNvGrpSpPr>
              <p:nvPr/>
            </p:nvGrpSpPr>
            <p:grpSpPr>
              <a:xfrm>
                <a:off x="4384955" y="-98434"/>
                <a:ext cx="175744" cy="196869"/>
                <a:chOff x="-459430" y="-5122871"/>
                <a:chExt cx="1512104" cy="1693868"/>
              </a:xfrm>
              <a:grpFill/>
            </p:grpSpPr>
            <p:sp>
              <p:nvSpPr>
                <p:cNvPr id="108" name="Freeform 107"/>
                <p:cNvSpPr/>
                <p:nvPr/>
              </p:nvSpPr>
              <p:spPr>
                <a:xfrm>
                  <a:off x="-459430" y="-5122871"/>
                  <a:ext cx="1503184" cy="860875"/>
                </a:xfrm>
                <a:custGeom>
                  <a:avLst/>
                  <a:gdLst>
                    <a:gd name="connsiteX0" fmla="*/ 722599 w 1480881"/>
                    <a:gd name="connsiteY0" fmla="*/ 0 h 860875"/>
                    <a:gd name="connsiteX1" fmla="*/ 0 w 1480881"/>
                    <a:gd name="connsiteY1" fmla="*/ 428207 h 860875"/>
                    <a:gd name="connsiteX2" fmla="*/ 762743 w 1480881"/>
                    <a:gd name="connsiteY2" fmla="*/ 860875 h 860875"/>
                    <a:gd name="connsiteX3" fmla="*/ 1480881 w 1480881"/>
                    <a:gd name="connsiteY3" fmla="*/ 450510 h 860875"/>
                    <a:gd name="connsiteX4" fmla="*/ 722599 w 1480881"/>
                    <a:gd name="connsiteY4" fmla="*/ 0 h 860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81" h="860875">
                      <a:moveTo>
                        <a:pt x="722599" y="0"/>
                      </a:moveTo>
                      <a:lnTo>
                        <a:pt x="0" y="428207"/>
                      </a:lnTo>
                      <a:lnTo>
                        <a:pt x="762743" y="860875"/>
                      </a:lnTo>
                      <a:lnTo>
                        <a:pt x="1480881" y="450510"/>
                      </a:lnTo>
                      <a:lnTo>
                        <a:pt x="722599" y="0"/>
                      </a:lnTo>
                      <a:close/>
                    </a:path>
                  </a:pathLst>
                </a:custGeom>
                <a:solidFill>
                  <a:srgbClr val="FFC410"/>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09" name="Freeform 108"/>
                <p:cNvSpPr/>
                <p:nvPr/>
              </p:nvSpPr>
              <p:spPr>
                <a:xfrm>
                  <a:off x="-459430" y="-4696893"/>
                  <a:ext cx="771664" cy="1253397"/>
                </a:xfrm>
                <a:custGeom>
                  <a:avLst/>
                  <a:gdLst>
                    <a:gd name="connsiteX0" fmla="*/ 0 w 771664"/>
                    <a:gd name="connsiteY0" fmla="*/ 0 h 1253397"/>
                    <a:gd name="connsiteX1" fmla="*/ 0 w 771664"/>
                    <a:gd name="connsiteY1" fmla="*/ 865335 h 1253397"/>
                    <a:gd name="connsiteX2" fmla="*/ 771664 w 771664"/>
                    <a:gd name="connsiteY2" fmla="*/ 1253397 h 1253397"/>
                    <a:gd name="connsiteX3" fmla="*/ 771664 w 771664"/>
                    <a:gd name="connsiteY3" fmla="*/ 432668 h 1253397"/>
                    <a:gd name="connsiteX4" fmla="*/ 0 w 771664"/>
                    <a:gd name="connsiteY4" fmla="*/ 0 h 125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664" h="1253397">
                      <a:moveTo>
                        <a:pt x="0" y="0"/>
                      </a:moveTo>
                      <a:lnTo>
                        <a:pt x="0" y="865335"/>
                      </a:lnTo>
                      <a:lnTo>
                        <a:pt x="771664" y="1253397"/>
                      </a:lnTo>
                      <a:lnTo>
                        <a:pt x="771664" y="432668"/>
                      </a:lnTo>
                      <a:lnTo>
                        <a:pt x="0" y="0"/>
                      </a:lnTo>
                      <a:close/>
                    </a:path>
                  </a:pathLst>
                </a:custGeom>
                <a:solidFill>
                  <a:srgbClr val="FF8E00"/>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sp>
              <p:nvSpPr>
                <p:cNvPr id="110" name="Freeform 109"/>
                <p:cNvSpPr/>
                <p:nvPr/>
              </p:nvSpPr>
              <p:spPr>
                <a:xfrm>
                  <a:off x="312234" y="-4673479"/>
                  <a:ext cx="740440" cy="1244476"/>
                </a:xfrm>
                <a:custGeom>
                  <a:avLst/>
                  <a:gdLst>
                    <a:gd name="connsiteX0" fmla="*/ 0 w 731520"/>
                    <a:gd name="connsiteY0" fmla="*/ 410365 h 1244476"/>
                    <a:gd name="connsiteX1" fmla="*/ 0 w 731520"/>
                    <a:gd name="connsiteY1" fmla="*/ 1244476 h 1244476"/>
                    <a:gd name="connsiteX2" fmla="*/ 731520 w 731520"/>
                    <a:gd name="connsiteY2" fmla="*/ 780586 h 1244476"/>
                    <a:gd name="connsiteX3" fmla="*/ 718139 w 731520"/>
                    <a:gd name="connsiteY3" fmla="*/ 0 h 1244476"/>
                    <a:gd name="connsiteX4" fmla="*/ 0 w 731520"/>
                    <a:gd name="connsiteY4" fmla="*/ 410365 h 1244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0" h="1244476">
                      <a:moveTo>
                        <a:pt x="0" y="410365"/>
                      </a:moveTo>
                      <a:lnTo>
                        <a:pt x="0" y="1244476"/>
                      </a:lnTo>
                      <a:lnTo>
                        <a:pt x="731520" y="780586"/>
                      </a:lnTo>
                      <a:lnTo>
                        <a:pt x="718139" y="0"/>
                      </a:lnTo>
                      <a:lnTo>
                        <a:pt x="0" y="410365"/>
                      </a:lnTo>
                      <a:close/>
                    </a:path>
                  </a:pathLst>
                </a:custGeom>
                <a:solidFill>
                  <a:srgbClr val="FD4508"/>
                </a:solidFill>
                <a:ln w="12700" cap="flat" cmpd="sng" algn="ctr">
                  <a:noFill/>
                  <a:prstDash val="solid"/>
                  <a:miter lim="800000"/>
                </a:ln>
                <a:effectLst/>
              </p:spPr>
              <p:txBody>
                <a:bodyPr rtlCol="0" anchor="ctr"/>
                <a:lstStyle/>
                <a:p>
                  <a:pPr marL="0" marR="0" lvl="0" indent="0" algn="ctr" defTabSz="506845" rtl="0" eaLnBrk="1" fontAlgn="auto" latinLnBrk="0" hangingPunct="1">
                    <a:lnSpc>
                      <a:spcPct val="100000"/>
                    </a:lnSpc>
                    <a:spcBef>
                      <a:spcPts val="0"/>
                    </a:spcBef>
                    <a:spcAft>
                      <a:spcPts val="0"/>
                    </a:spcAft>
                    <a:buClrTx/>
                    <a:buSzTx/>
                    <a:buFontTx/>
                    <a:buNone/>
                    <a:tabLst/>
                    <a:defRPr/>
                  </a:pPr>
                  <a:endParaRPr kumimoji="0" lang="en-US" sz="998" b="0" i="0" u="none" strike="noStrike" kern="0" cap="none" spc="0" normalizeH="0" baseline="0" noProof="0">
                    <a:ln>
                      <a:noFill/>
                    </a:ln>
                    <a:solidFill>
                      <a:srgbClr val="FFFFFF"/>
                    </a:solidFill>
                    <a:effectLst/>
                    <a:uLnTx/>
                    <a:uFillTx/>
                    <a:latin typeface="Segoe"/>
                    <a:ea typeface="+mn-ea"/>
                    <a:cs typeface="+mn-cs"/>
                  </a:endParaRPr>
                </a:p>
              </p:txBody>
            </p:sp>
          </p:grpSp>
        </p:grpSp>
      </p:grpSp>
      <p:grpSp>
        <p:nvGrpSpPr>
          <p:cNvPr id="9" name="Group 8"/>
          <p:cNvGrpSpPr/>
          <p:nvPr/>
        </p:nvGrpSpPr>
        <p:grpSpPr>
          <a:xfrm>
            <a:off x="2746963" y="3964389"/>
            <a:ext cx="380992" cy="560216"/>
            <a:chOff x="2746963" y="3964389"/>
            <a:chExt cx="380992" cy="560216"/>
          </a:xfrm>
        </p:grpSpPr>
        <p:grpSp>
          <p:nvGrpSpPr>
            <p:cNvPr id="8" name="Group 7"/>
            <p:cNvGrpSpPr/>
            <p:nvPr/>
          </p:nvGrpSpPr>
          <p:grpSpPr>
            <a:xfrm>
              <a:off x="2746963" y="3964389"/>
              <a:ext cx="380992" cy="560216"/>
              <a:chOff x="3081451" y="4220264"/>
              <a:chExt cx="380992" cy="560216"/>
            </a:xfrm>
          </p:grpSpPr>
          <p:sp>
            <p:nvSpPr>
              <p:cNvPr id="139" name="Flowchart: Magnetic Disk 138"/>
              <p:cNvSpPr/>
              <p:nvPr/>
            </p:nvSpPr>
            <p:spPr bwMode="auto">
              <a:xfrm>
                <a:off x="3081451" y="4220264"/>
                <a:ext cx="380992" cy="560216"/>
              </a:xfrm>
              <a:prstGeom prst="flowChartMagneticDisk">
                <a:avLst/>
              </a:prstGeom>
              <a:gradFill flip="none" rotWithShape="1">
                <a:gsLst>
                  <a:gs pos="57000">
                    <a:schemeClr val="accent1"/>
                  </a:gs>
                  <a:gs pos="57000">
                    <a:srgbClr val="004DA4"/>
                  </a:gs>
                </a:gsLst>
                <a:lin ang="19200000" scaled="0"/>
                <a:tileRect/>
              </a:gradFill>
              <a:ln w="12700" cap="flat" cmpd="sng" algn="ctr">
                <a:noFill/>
                <a:prstDash val="solid"/>
                <a:miter lim="800000"/>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506845" rtl="0" eaLnBrk="1" fontAlgn="auto" latinLnBrk="0" hangingPunct="1">
                  <a:lnSpc>
                    <a:spcPct val="80000"/>
                  </a:lnSpc>
                  <a:spcBef>
                    <a:spcPts val="0"/>
                  </a:spcBef>
                  <a:spcAft>
                    <a:spcPts val="0"/>
                  </a:spcAft>
                  <a:buClrTx/>
                  <a:buSzTx/>
                  <a:buFontTx/>
                  <a:buNone/>
                  <a:tabLst/>
                  <a:defRPr/>
                </a:pPr>
                <a:endParaRPr kumimoji="0" lang="en-US" sz="998" b="0" i="0" u="none" strike="noStrike" kern="0" cap="none" spc="0" normalizeH="0" baseline="0" noProof="0" dirty="0" err="1">
                  <a:ln>
                    <a:noFill/>
                  </a:ln>
                  <a:solidFill>
                    <a:srgbClr val="FFFFFF"/>
                  </a:solidFill>
                  <a:effectLst/>
                  <a:uLnTx/>
                  <a:uFillTx/>
                  <a:latin typeface="Segoe Light"/>
                  <a:ea typeface="+mn-ea"/>
                  <a:cs typeface="+mn-cs"/>
                </a:endParaRPr>
              </a:p>
            </p:txBody>
          </p:sp>
          <p:sp>
            <p:nvSpPr>
              <p:cNvPr id="140" name="Oval 139"/>
              <p:cNvSpPr/>
              <p:nvPr/>
            </p:nvSpPr>
            <p:spPr bwMode="auto">
              <a:xfrm>
                <a:off x="3123261" y="4247946"/>
                <a:ext cx="312216" cy="1329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4" name="Donut 93"/>
            <p:cNvSpPr/>
            <p:nvPr/>
          </p:nvSpPr>
          <p:spPr bwMode="auto">
            <a:xfrm>
              <a:off x="2751329" y="3966399"/>
              <a:ext cx="375218" cy="160539"/>
            </a:xfrm>
            <a:prstGeom prst="don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603338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Scale</a:t>
            </a:r>
          </a:p>
        </p:txBody>
      </p:sp>
      <p:grpSp>
        <p:nvGrpSpPr>
          <p:cNvPr id="3" name="Group 2"/>
          <p:cNvGrpSpPr/>
          <p:nvPr/>
        </p:nvGrpSpPr>
        <p:grpSpPr>
          <a:xfrm>
            <a:off x="-1179" y="6648512"/>
            <a:ext cx="12437653" cy="353950"/>
            <a:chOff x="2577137" y="4571778"/>
            <a:chExt cx="9101124" cy="1390560"/>
          </a:xfrm>
        </p:grpSpPr>
        <p:sp>
          <p:nvSpPr>
            <p:cNvPr id="4" name="TextBox 3"/>
            <p:cNvSpPr txBox="1"/>
            <p:nvPr/>
          </p:nvSpPr>
          <p:spPr>
            <a:xfrm>
              <a:off x="2577137" y="4571778"/>
              <a:ext cx="3034890" cy="1390458"/>
            </a:xfrm>
            <a:prstGeom prst="rect">
              <a:avLst/>
            </a:prstGeom>
            <a:solidFill>
              <a:srgbClr val="0072C6"/>
            </a:solidFill>
          </p:spPr>
          <p:txBody>
            <a:bodyPr wrap="square" lIns="457135" tIns="137141" rIns="365708" rtlCol="0">
              <a:noAutofit/>
            </a:bodyPr>
            <a:lstStyle/>
            <a:p>
              <a:pPr marL="0" marR="0" lvl="0" indent="0" algn="l" defTabSz="932742" rtl="0" eaLnBrk="1" fontAlgn="auto" latinLnBrk="0" hangingPunct="1">
                <a:lnSpc>
                  <a:spcPts val="3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5" name="TextBox 4"/>
            <p:cNvSpPr txBox="1"/>
            <p:nvPr/>
          </p:nvSpPr>
          <p:spPr>
            <a:xfrm>
              <a:off x="5612027" y="4572324"/>
              <a:ext cx="6066234" cy="1390014"/>
            </a:xfrm>
            <a:prstGeom prst="rect">
              <a:avLst/>
            </a:prstGeom>
            <a:solidFill>
              <a:srgbClr val="002050"/>
            </a:solidFill>
          </p:spPr>
          <p:txBody>
            <a:bodyPr wrap="square" lIns="457135" tIns="137141" rIns="639989" rtlCol="0">
              <a:noAutofit/>
            </a:bodyPr>
            <a:lstStyle/>
            <a:p>
              <a:pPr marL="0" marR="0" lvl="0" indent="0" algn="l" defTabSz="913774" rtl="0" eaLnBrk="1" fontAlgn="auto" latinLnBrk="0" hangingPunct="1">
                <a:lnSpc>
                  <a:spcPts val="2941"/>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6" name="Text Placeholder 2"/>
          <p:cNvSpPr txBox="1">
            <a:spLocks/>
          </p:cNvSpPr>
          <p:nvPr/>
        </p:nvSpPr>
        <p:spPr>
          <a:xfrm>
            <a:off x="274638" y="1212850"/>
            <a:ext cx="11887200" cy="132959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7" name="Rectangle 6"/>
          <p:cNvSpPr/>
          <p:nvPr/>
        </p:nvSpPr>
        <p:spPr bwMode="auto">
          <a:xfrm>
            <a:off x="-15699" y="2632343"/>
            <a:ext cx="12434711" cy="436218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8" name="Group 7"/>
          <p:cNvGrpSpPr/>
          <p:nvPr/>
        </p:nvGrpSpPr>
        <p:grpSpPr>
          <a:xfrm>
            <a:off x="473611" y="4368838"/>
            <a:ext cx="2395910" cy="1717986"/>
            <a:chOff x="473611" y="4368838"/>
            <a:chExt cx="2395910" cy="1717986"/>
          </a:xfrm>
        </p:grpSpPr>
        <p:grpSp>
          <p:nvGrpSpPr>
            <p:cNvPr id="9" name="Group 8"/>
            <p:cNvGrpSpPr/>
            <p:nvPr/>
          </p:nvGrpSpPr>
          <p:grpSpPr>
            <a:xfrm>
              <a:off x="473611" y="4379464"/>
              <a:ext cx="1392869" cy="1707360"/>
              <a:chOff x="313191" y="4732388"/>
              <a:chExt cx="1392869" cy="1707360"/>
            </a:xfrm>
          </p:grpSpPr>
          <p:grpSp>
            <p:nvGrpSpPr>
              <p:cNvPr id="26" name="Group 25"/>
              <p:cNvGrpSpPr>
                <a:grpSpLocks noChangeAspect="1"/>
              </p:cNvGrpSpPr>
              <p:nvPr/>
            </p:nvGrpSpPr>
            <p:grpSpPr>
              <a:xfrm>
                <a:off x="791659" y="4732388"/>
                <a:ext cx="914401" cy="1187440"/>
                <a:chOff x="1644407" y="5115540"/>
                <a:chExt cx="822960" cy="1068695"/>
              </a:xfrm>
            </p:grpSpPr>
            <p:sp>
              <p:nvSpPr>
                <p:cNvPr id="37" name="Rectangle 36"/>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8" name="Group 37"/>
                <p:cNvGrpSpPr/>
                <p:nvPr/>
              </p:nvGrpSpPr>
              <p:grpSpPr>
                <a:xfrm>
                  <a:off x="1644407" y="5115540"/>
                  <a:ext cx="822960" cy="1068695"/>
                  <a:chOff x="961359" y="2483721"/>
                  <a:chExt cx="822960" cy="1068695"/>
                </a:xfrm>
              </p:grpSpPr>
              <p:sp>
                <p:nvSpPr>
                  <p:cNvPr id="39" name="Oval 38"/>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27" name="Group 26"/>
              <p:cNvGrpSpPr>
                <a:grpSpLocks noChangeAspect="1"/>
              </p:cNvGrpSpPr>
              <p:nvPr/>
            </p:nvGrpSpPr>
            <p:grpSpPr>
              <a:xfrm>
                <a:off x="552425" y="4994175"/>
                <a:ext cx="914401" cy="1183785"/>
                <a:chOff x="1645666" y="5118829"/>
                <a:chExt cx="822960" cy="1065406"/>
              </a:xfrm>
            </p:grpSpPr>
            <p:sp>
              <p:nvSpPr>
                <p:cNvPr id="33" name="Rectangle 32"/>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4" name="Group 33"/>
                <p:cNvGrpSpPr/>
                <p:nvPr/>
              </p:nvGrpSpPr>
              <p:grpSpPr>
                <a:xfrm>
                  <a:off x="1645666" y="5118829"/>
                  <a:ext cx="822960" cy="1065406"/>
                  <a:chOff x="962618" y="2487010"/>
                  <a:chExt cx="822960" cy="1065406"/>
                </a:xfrm>
              </p:grpSpPr>
              <p:sp>
                <p:nvSpPr>
                  <p:cNvPr id="35" name="Oval 34"/>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28" name="Group 27"/>
              <p:cNvGrpSpPr>
                <a:grpSpLocks noChangeAspect="1"/>
              </p:cNvGrpSpPr>
              <p:nvPr/>
            </p:nvGrpSpPr>
            <p:grpSpPr>
              <a:xfrm>
                <a:off x="313191" y="5252308"/>
                <a:ext cx="914401" cy="1187440"/>
                <a:chOff x="1625267" y="5096400"/>
                <a:chExt cx="822960" cy="1068695"/>
              </a:xfrm>
            </p:grpSpPr>
            <p:sp>
              <p:nvSpPr>
                <p:cNvPr id="29" name="Rectangle 28"/>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0" name="Group 29"/>
                <p:cNvGrpSpPr/>
                <p:nvPr/>
              </p:nvGrpSpPr>
              <p:grpSpPr>
                <a:xfrm>
                  <a:off x="1625267" y="5096400"/>
                  <a:ext cx="822960" cy="1068695"/>
                  <a:chOff x="942219" y="2464581"/>
                  <a:chExt cx="822960" cy="1068695"/>
                </a:xfrm>
              </p:grpSpPr>
              <p:sp>
                <p:nvSpPr>
                  <p:cNvPr id="31" name="Oval 30"/>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2" name="Freeform 31"/>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nvGrpSpPr>
            <p:cNvPr id="10" name="Group 9"/>
            <p:cNvGrpSpPr>
              <a:grpSpLocks noChangeAspect="1"/>
            </p:cNvGrpSpPr>
            <p:nvPr/>
          </p:nvGrpSpPr>
          <p:grpSpPr>
            <a:xfrm>
              <a:off x="2046561" y="4368838"/>
              <a:ext cx="822960" cy="1008773"/>
              <a:chOff x="313191" y="4732388"/>
              <a:chExt cx="1392869" cy="1707360"/>
            </a:xfrm>
          </p:grpSpPr>
          <p:grpSp>
            <p:nvGrpSpPr>
              <p:cNvPr id="11" name="Group 10"/>
              <p:cNvGrpSpPr>
                <a:grpSpLocks noChangeAspect="1"/>
              </p:cNvGrpSpPr>
              <p:nvPr/>
            </p:nvGrpSpPr>
            <p:grpSpPr>
              <a:xfrm>
                <a:off x="791659" y="4732388"/>
                <a:ext cx="914401" cy="1187440"/>
                <a:chOff x="1644407" y="5115540"/>
                <a:chExt cx="822960" cy="1068695"/>
              </a:xfrm>
            </p:grpSpPr>
            <p:sp>
              <p:nvSpPr>
                <p:cNvPr id="22" name="Rectangle 21"/>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3" name="Group 22"/>
                <p:cNvGrpSpPr/>
                <p:nvPr/>
              </p:nvGrpSpPr>
              <p:grpSpPr>
                <a:xfrm>
                  <a:off x="1644407" y="5115540"/>
                  <a:ext cx="822960" cy="1068695"/>
                  <a:chOff x="961359" y="2483721"/>
                  <a:chExt cx="822960" cy="1068695"/>
                </a:xfrm>
              </p:grpSpPr>
              <p:sp>
                <p:nvSpPr>
                  <p:cNvPr id="24" name="Oval 23"/>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2" name="Group 11"/>
              <p:cNvGrpSpPr>
                <a:grpSpLocks noChangeAspect="1"/>
              </p:cNvGrpSpPr>
              <p:nvPr/>
            </p:nvGrpSpPr>
            <p:grpSpPr>
              <a:xfrm>
                <a:off x="552425" y="4994175"/>
                <a:ext cx="914401" cy="1183785"/>
                <a:chOff x="1645666" y="5118829"/>
                <a:chExt cx="822960" cy="1065406"/>
              </a:xfrm>
            </p:grpSpPr>
            <p:sp>
              <p:nvSpPr>
                <p:cNvPr id="18" name="Rectangle 17"/>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9" name="Group 18"/>
                <p:cNvGrpSpPr/>
                <p:nvPr/>
              </p:nvGrpSpPr>
              <p:grpSpPr>
                <a:xfrm>
                  <a:off x="1645666" y="5118829"/>
                  <a:ext cx="822960" cy="1065406"/>
                  <a:chOff x="962618" y="2487010"/>
                  <a:chExt cx="822960" cy="1065406"/>
                </a:xfrm>
              </p:grpSpPr>
              <p:sp>
                <p:nvSpPr>
                  <p:cNvPr id="20" name="Oval 19"/>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3" name="Group 12"/>
              <p:cNvGrpSpPr>
                <a:grpSpLocks noChangeAspect="1"/>
              </p:cNvGrpSpPr>
              <p:nvPr/>
            </p:nvGrpSpPr>
            <p:grpSpPr>
              <a:xfrm>
                <a:off x="313191" y="5252308"/>
                <a:ext cx="914401" cy="1187440"/>
                <a:chOff x="1625267" y="5096400"/>
                <a:chExt cx="822960" cy="1068695"/>
              </a:xfrm>
            </p:grpSpPr>
            <p:sp>
              <p:nvSpPr>
                <p:cNvPr id="14" name="Rectangle 13"/>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5" name="Group 14"/>
                <p:cNvGrpSpPr/>
                <p:nvPr/>
              </p:nvGrpSpPr>
              <p:grpSpPr>
                <a:xfrm>
                  <a:off x="1625267" y="5096400"/>
                  <a:ext cx="822960" cy="1068695"/>
                  <a:chOff x="942219" y="2464581"/>
                  <a:chExt cx="822960" cy="1068695"/>
                </a:xfrm>
              </p:grpSpPr>
              <p:sp>
                <p:nvSpPr>
                  <p:cNvPr id="16" name="Oval 15"/>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7" name="Freeform 16"/>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grpSp>
        <p:nvGrpSpPr>
          <p:cNvPr id="41" name="Group 40"/>
          <p:cNvGrpSpPr/>
          <p:nvPr/>
        </p:nvGrpSpPr>
        <p:grpSpPr>
          <a:xfrm>
            <a:off x="306849" y="3046613"/>
            <a:ext cx="11654174" cy="3631731"/>
            <a:chOff x="306849" y="3046613"/>
            <a:chExt cx="11654174" cy="3631731"/>
          </a:xfrm>
        </p:grpSpPr>
        <p:sp>
          <p:nvSpPr>
            <p:cNvPr id="42" name="Rectangle 41"/>
            <p:cNvSpPr/>
            <p:nvPr/>
          </p:nvSpPr>
          <p:spPr bwMode="auto">
            <a:xfrm>
              <a:off x="306849" y="3078698"/>
              <a:ext cx="320040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9217" rIns="186521" bIns="149217" numCol="1" spcCol="0" rtlCol="0" fromWordArt="0" anchor="ctr"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Elastic scale </a:t>
              </a:r>
              <a:b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b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amp; performance</a:t>
              </a:r>
            </a:p>
          </p:txBody>
        </p:sp>
        <p:grpSp>
          <p:nvGrpSpPr>
            <p:cNvPr id="43" name="Group 42"/>
            <p:cNvGrpSpPr>
              <a:grpSpLocks noChangeAspect="1"/>
            </p:cNvGrpSpPr>
            <p:nvPr/>
          </p:nvGrpSpPr>
          <p:grpSpPr>
            <a:xfrm>
              <a:off x="2942435" y="4633076"/>
              <a:ext cx="403381" cy="376649"/>
              <a:chOff x="-5364163" y="-2738437"/>
              <a:chExt cx="4327525" cy="4054475"/>
            </a:xfrm>
            <a:solidFill>
              <a:schemeClr val="accent4"/>
            </a:solidFill>
          </p:grpSpPr>
          <p:sp>
            <p:nvSpPr>
              <p:cNvPr id="71"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51066" rtl="0" eaLnBrk="1" fontAlgn="auto" latinLnBrk="0" hangingPunct="1">
                  <a:lnSpc>
                    <a:spcPct val="100000"/>
                  </a:lnSpc>
                  <a:spcBef>
                    <a:spcPts val="0"/>
                  </a:spcBef>
                  <a:spcAft>
                    <a:spcPts val="0"/>
                  </a:spcAft>
                  <a:buClrTx/>
                  <a:buSzTx/>
                  <a:buFontTx/>
                  <a:buNone/>
                  <a:tabLst/>
                  <a:defRPr/>
                </a:pPr>
                <a:endParaRPr kumimoji="0" lang="en-US" sz="306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50534" y="5374216"/>
              <a:ext cx="646710" cy="646710"/>
            </a:xfrm>
            <a:prstGeom prst="rect">
              <a:avLst/>
            </a:prstGeom>
          </p:spPr>
        </p:pic>
        <p:grpSp>
          <p:nvGrpSpPr>
            <p:cNvPr id="45" name="Group 44"/>
            <p:cNvGrpSpPr/>
            <p:nvPr/>
          </p:nvGrpSpPr>
          <p:grpSpPr>
            <a:xfrm>
              <a:off x="3318039" y="3242715"/>
              <a:ext cx="1295282" cy="1071347"/>
              <a:chOff x="3318039" y="3242715"/>
              <a:chExt cx="1295282" cy="1071347"/>
            </a:xfrm>
          </p:grpSpPr>
          <p:sp>
            <p:nvSpPr>
              <p:cNvPr id="67"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UI"/>
                  <a:ea typeface="+mn-ea"/>
                  <a:cs typeface="+mn-cs"/>
                </a:endParaRPr>
              </a:p>
            </p:txBody>
          </p:sp>
          <p:grpSp>
            <p:nvGrpSpPr>
              <p:cNvPr id="68" name="1 GEAR"/>
              <p:cNvGrpSpPr>
                <a:grpSpLocks noChangeAspect="1"/>
              </p:cNvGrpSpPr>
              <p:nvPr/>
            </p:nvGrpSpPr>
            <p:grpSpPr>
              <a:xfrm>
                <a:off x="3707871" y="3242715"/>
                <a:ext cx="548640" cy="548640"/>
                <a:chOff x="3427632" y="3858620"/>
                <a:chExt cx="676353" cy="704919"/>
              </a:xfrm>
            </p:grpSpPr>
            <p:sp>
              <p:nvSpPr>
                <p:cNvPr id="69" name="Oval 68"/>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70" name="Freeform 69"/>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latin typeface="Segoe UI"/>
                    <a:ea typeface="+mn-ea"/>
                    <a:cs typeface="+mn-cs"/>
                  </a:endParaRPr>
                </a:p>
              </p:txBody>
            </p:sp>
          </p:grpSp>
        </p:grpSp>
        <p:grpSp>
          <p:nvGrpSpPr>
            <p:cNvPr id="46" name="Group 45"/>
            <p:cNvGrpSpPr/>
            <p:nvPr/>
          </p:nvGrpSpPr>
          <p:grpSpPr>
            <a:xfrm>
              <a:off x="7344122" y="3242715"/>
              <a:ext cx="1295282" cy="1071347"/>
              <a:chOff x="7344122" y="3242715"/>
              <a:chExt cx="1295282" cy="1071347"/>
            </a:xfrm>
          </p:grpSpPr>
          <p:sp>
            <p:nvSpPr>
              <p:cNvPr id="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FFFFFF"/>
                  </a:solidFill>
                  <a:effectLst/>
                  <a:uLnTx/>
                  <a:uFillTx/>
                  <a:latin typeface="Segoe UI"/>
                  <a:ea typeface="+mn-ea"/>
                  <a:cs typeface="+mn-cs"/>
                </a:endParaRPr>
              </a:p>
            </p:txBody>
          </p:sp>
          <p:grpSp>
            <p:nvGrpSpPr>
              <p:cNvPr id="64" name="1 GEAR"/>
              <p:cNvGrpSpPr>
                <a:grpSpLocks noChangeAspect="1"/>
              </p:cNvGrpSpPr>
              <p:nvPr/>
            </p:nvGrpSpPr>
            <p:grpSpPr>
              <a:xfrm>
                <a:off x="7700649" y="3242715"/>
                <a:ext cx="548640" cy="548640"/>
                <a:chOff x="3427632" y="3858620"/>
                <a:chExt cx="676353" cy="704919"/>
              </a:xfrm>
            </p:grpSpPr>
            <p:sp>
              <p:nvSpPr>
                <p:cNvPr id="65" name="Oval 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66" name="Freeform 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latin typeface="Segoe UI"/>
                    <a:ea typeface="+mn-ea"/>
                    <a:cs typeface="+mn-cs"/>
                  </a:endParaRPr>
                </a:p>
              </p:txBody>
            </p:sp>
          </p:grpSp>
        </p:grpSp>
        <p:grpSp>
          <p:nvGrpSpPr>
            <p:cNvPr id="47" name="Group 46"/>
            <p:cNvGrpSpPr/>
            <p:nvPr/>
          </p:nvGrpSpPr>
          <p:grpSpPr>
            <a:xfrm>
              <a:off x="4245174" y="3928515"/>
              <a:ext cx="3474720" cy="2749829"/>
              <a:chOff x="4245174" y="3928515"/>
              <a:chExt cx="3474720" cy="2749829"/>
            </a:xfrm>
          </p:grpSpPr>
          <p:sp>
            <p:nvSpPr>
              <p:cNvPr id="53" name="Rectangle 52"/>
              <p:cNvSpPr/>
              <p:nvPr/>
            </p:nvSpPr>
            <p:spPr bwMode="auto">
              <a:xfrm>
                <a:off x="4245174" y="3928515"/>
                <a:ext cx="34747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Powered by the Cloud</a:t>
                </a:r>
              </a:p>
            </p:txBody>
          </p:sp>
          <p:grpSp>
            <p:nvGrpSpPr>
              <p:cNvPr id="54" name="Group 53"/>
              <p:cNvGrpSpPr/>
              <p:nvPr/>
            </p:nvGrpSpPr>
            <p:grpSpPr>
              <a:xfrm>
                <a:off x="4444308" y="5063987"/>
                <a:ext cx="3024528" cy="1614357"/>
                <a:chOff x="4476392" y="4871483"/>
                <a:chExt cx="3024528" cy="1614357"/>
              </a:xfrm>
            </p:grpSpPr>
            <p:grpSp>
              <p:nvGrpSpPr>
                <p:cNvPr id="55" name="Group 54"/>
                <p:cNvGrpSpPr/>
                <p:nvPr/>
              </p:nvGrpSpPr>
              <p:grpSpPr>
                <a:xfrm>
                  <a:off x="5125206" y="4871483"/>
                  <a:ext cx="2375714" cy="1614357"/>
                  <a:chOff x="15516218" y="1242147"/>
                  <a:chExt cx="530372" cy="360401"/>
                </a:xfrm>
              </p:grpSpPr>
              <p:sp>
                <p:nvSpPr>
                  <p:cNvPr id="61" name="Freeform 60"/>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sp>
                <p:nvSpPr>
                  <p:cNvPr id="62" name="Freeform 61"/>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56" name="Group 55"/>
                <p:cNvGrpSpPr/>
                <p:nvPr/>
              </p:nvGrpSpPr>
              <p:grpSpPr>
                <a:xfrm>
                  <a:off x="6751676" y="5260858"/>
                  <a:ext cx="647396" cy="697154"/>
                  <a:chOff x="6671466" y="5260858"/>
                  <a:chExt cx="647396" cy="697154"/>
                </a:xfrm>
              </p:grpSpPr>
              <p:sp>
                <p:nvSpPr>
                  <p:cNvPr id="59" name="Oval 58"/>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2200" b="0" i="0" u="none" strike="noStrike" kern="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60" name="Freeform 59"/>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9617" tIns="44808" rIns="89617"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latin typeface="Segoe UI"/>
                      <a:ea typeface="+mn-ea"/>
                      <a:cs typeface="+mn-cs"/>
                    </a:endParaRPr>
                  </a:p>
                </p:txBody>
              </p:sp>
            </p:grpSp>
            <p:pic>
              <p:nvPicPr>
                <p:cNvPr id="5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58" name="Picture 57"/>
                <p:cNvPicPr>
                  <a:picLocks noChangeAspect="1"/>
                </p:cNvPicPr>
                <p:nvPr/>
              </p:nvPicPr>
              <p:blipFill>
                <a:blip r:embed="rId4">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48" name="Group 47"/>
            <p:cNvGrpSpPr/>
            <p:nvPr/>
          </p:nvGrpSpPr>
          <p:grpSpPr>
            <a:xfrm>
              <a:off x="8486303" y="3046613"/>
              <a:ext cx="3474720" cy="2996074"/>
              <a:chOff x="8486303" y="3046613"/>
              <a:chExt cx="3474720" cy="2996074"/>
            </a:xfrm>
          </p:grpSpPr>
          <p:sp>
            <p:nvSpPr>
              <p:cNvPr id="49" name="Rectangle 48"/>
              <p:cNvSpPr/>
              <p:nvPr/>
            </p:nvSpPr>
            <p:spPr bwMode="auto">
              <a:xfrm>
                <a:off x="8486303" y="3046613"/>
                <a:ext cx="34747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Market Leading Price </a:t>
                </a:r>
                <a:b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b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anose="020B0502040204020203" pitchFamily="34" charset="0"/>
                    <a:cs typeface="Segoe UI" panose="020B0502040204020203" pitchFamily="34" charset="0"/>
                  </a:rPr>
                  <a:t>&amp; Performance</a:t>
                </a:r>
              </a:p>
            </p:txBody>
          </p:sp>
          <p:grpSp>
            <p:nvGrpSpPr>
              <p:cNvPr id="50" name="Group 49"/>
              <p:cNvGrpSpPr/>
              <p:nvPr/>
            </p:nvGrpSpPr>
            <p:grpSpPr>
              <a:xfrm>
                <a:off x="8988092" y="4412976"/>
                <a:ext cx="2446666" cy="1629711"/>
                <a:chOff x="9292890" y="4193911"/>
                <a:chExt cx="2446666" cy="1629711"/>
              </a:xfrm>
            </p:grpSpPr>
            <p:sp>
              <p:nvSpPr>
                <p:cNvPr id="51" name="Freeform 5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pic>
              <p:nvPicPr>
                <p:cNvPr id="52" name="Picture 51"/>
                <p:cNvPicPr>
                  <a:picLocks noChangeAspect="1"/>
                </p:cNvPicPr>
                <p:nvPr/>
              </p:nvPicPr>
              <p:blipFill>
                <a:blip r:embed="rId5"/>
                <a:stretch>
                  <a:fillRect/>
                </a:stretch>
              </p:blipFill>
              <p:spPr>
                <a:xfrm>
                  <a:off x="9292890" y="4482669"/>
                  <a:ext cx="1867762" cy="1340953"/>
                </a:xfrm>
                <a:prstGeom prst="rect">
                  <a:avLst/>
                </a:prstGeom>
              </p:spPr>
            </p:pic>
          </p:grpSp>
        </p:grpSp>
      </p:grpSp>
      <p:grpSp>
        <p:nvGrpSpPr>
          <p:cNvPr id="85" name="Group 84"/>
          <p:cNvGrpSpPr>
            <a:grpSpLocks noChangeAspect="1"/>
          </p:cNvGrpSpPr>
          <p:nvPr/>
        </p:nvGrpSpPr>
        <p:grpSpPr>
          <a:xfrm>
            <a:off x="8700013" y="2681513"/>
            <a:ext cx="3200400" cy="1235848"/>
            <a:chOff x="516754" y="2718947"/>
            <a:chExt cx="2171607" cy="838575"/>
          </a:xfrm>
        </p:grpSpPr>
        <p:grpSp>
          <p:nvGrpSpPr>
            <p:cNvPr id="86" name="Group 85"/>
            <p:cNvGrpSpPr/>
            <p:nvPr/>
          </p:nvGrpSpPr>
          <p:grpSpPr>
            <a:xfrm>
              <a:off x="516754" y="2718947"/>
              <a:ext cx="605761" cy="838575"/>
              <a:chOff x="8877856" y="3042381"/>
              <a:chExt cx="605761" cy="838575"/>
            </a:xfrm>
          </p:grpSpPr>
          <p:sp>
            <p:nvSpPr>
              <p:cNvPr id="107" name="Rectangle 106"/>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8" name="Freeform 107"/>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9" name="Freeform 108"/>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0" name="Freeform 109"/>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1" name="Freeform 110"/>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2" name="Oval 111"/>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3" name="Oval 112"/>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4" name="Oval 113"/>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5" name="Oval 114"/>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7" name="Group 86"/>
            <p:cNvGrpSpPr/>
            <p:nvPr/>
          </p:nvGrpSpPr>
          <p:grpSpPr>
            <a:xfrm>
              <a:off x="1299677" y="2718947"/>
              <a:ext cx="605761" cy="838575"/>
              <a:chOff x="8877856" y="3042381"/>
              <a:chExt cx="605761" cy="838575"/>
            </a:xfrm>
          </p:grpSpPr>
          <p:sp>
            <p:nvSpPr>
              <p:cNvPr id="98" name="Rectangle 97"/>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9" name="Freeform 98"/>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0" name="Freeform 99"/>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1" name="Freeform 100"/>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2" name="Freeform 101"/>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3" name="Oval 102"/>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4" name="Oval 103"/>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5" name="Oval 104"/>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6" name="Oval 105"/>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8" name="Group 87"/>
            <p:cNvGrpSpPr/>
            <p:nvPr/>
          </p:nvGrpSpPr>
          <p:grpSpPr>
            <a:xfrm>
              <a:off x="2082600" y="2718947"/>
              <a:ext cx="605761" cy="838575"/>
              <a:chOff x="8877856" y="3042381"/>
              <a:chExt cx="605761" cy="838575"/>
            </a:xfrm>
          </p:grpSpPr>
          <p:sp>
            <p:nvSpPr>
              <p:cNvPr id="89" name="Rectangle 88"/>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0" name="Freeform 89"/>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1" name="Freeform 90"/>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2" name="Freeform 91"/>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3" name="Freeform 92"/>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4" name="Oval 93"/>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5" name="Oval 94"/>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6" name="Oval 95"/>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7" name="Oval 96"/>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16" name="Group 115"/>
          <p:cNvGrpSpPr/>
          <p:nvPr/>
        </p:nvGrpSpPr>
        <p:grpSpPr>
          <a:xfrm>
            <a:off x="960120" y="3401568"/>
            <a:ext cx="10151006" cy="1235848"/>
            <a:chOff x="960437" y="3404414"/>
            <a:chExt cx="10151006" cy="1235848"/>
          </a:xfrm>
        </p:grpSpPr>
        <p:grpSp>
          <p:nvGrpSpPr>
            <p:cNvPr id="117" name="Group 116"/>
            <p:cNvGrpSpPr>
              <a:grpSpLocks noChangeAspect="1"/>
            </p:cNvGrpSpPr>
            <p:nvPr/>
          </p:nvGrpSpPr>
          <p:grpSpPr>
            <a:xfrm>
              <a:off x="4435742" y="3404414"/>
              <a:ext cx="3200400" cy="1235848"/>
              <a:chOff x="516754" y="2718947"/>
              <a:chExt cx="2171607" cy="838575"/>
            </a:xfrm>
          </p:grpSpPr>
          <p:grpSp>
            <p:nvGrpSpPr>
              <p:cNvPr id="180" name="Group 179"/>
              <p:cNvGrpSpPr/>
              <p:nvPr/>
            </p:nvGrpSpPr>
            <p:grpSpPr>
              <a:xfrm>
                <a:off x="516754" y="2718947"/>
                <a:ext cx="605761" cy="838575"/>
                <a:chOff x="8877856" y="3042381"/>
                <a:chExt cx="605761" cy="838575"/>
              </a:xfrm>
            </p:grpSpPr>
            <p:sp>
              <p:nvSpPr>
                <p:cNvPr id="201" name="Rectangle 20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2" name="Freeform 20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3" name="Freeform 20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4" name="Freeform 20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5" name="Freeform 20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6" name="Oval 20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7" name="Oval 20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8" name="Oval 20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9" name="Oval 20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81" name="Group 180"/>
              <p:cNvGrpSpPr/>
              <p:nvPr/>
            </p:nvGrpSpPr>
            <p:grpSpPr>
              <a:xfrm>
                <a:off x="1299677" y="2718947"/>
                <a:ext cx="605761" cy="838575"/>
                <a:chOff x="8877856" y="3042381"/>
                <a:chExt cx="605761" cy="838575"/>
              </a:xfrm>
            </p:grpSpPr>
            <p:sp>
              <p:nvSpPr>
                <p:cNvPr id="192" name="Rectangle 19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3" name="Freeform 19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4" name="Freeform 19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19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6" name="Freeform 19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7" name="Oval 19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8" name="Oval 19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9" name="Oval 19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200" name="Oval 19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82" name="Group 181"/>
              <p:cNvGrpSpPr/>
              <p:nvPr/>
            </p:nvGrpSpPr>
            <p:grpSpPr>
              <a:xfrm>
                <a:off x="2082600" y="2718947"/>
                <a:ext cx="605761" cy="838575"/>
                <a:chOff x="8877856" y="3042381"/>
                <a:chExt cx="605761" cy="838575"/>
              </a:xfrm>
            </p:grpSpPr>
            <p:sp>
              <p:nvSpPr>
                <p:cNvPr id="183" name="Rectangle 182"/>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18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18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18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18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8" name="Oval 187"/>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89" name="Oval 188"/>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0" name="Oval 189"/>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91" name="Oval 190"/>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18" name="Group 117"/>
            <p:cNvGrpSpPr>
              <a:grpSpLocks noChangeAspect="1"/>
            </p:cNvGrpSpPr>
            <p:nvPr/>
          </p:nvGrpSpPr>
          <p:grpSpPr>
            <a:xfrm>
              <a:off x="960437" y="3404414"/>
              <a:ext cx="3200403" cy="1235848"/>
              <a:chOff x="516753" y="2718947"/>
              <a:chExt cx="2171608" cy="838575"/>
            </a:xfrm>
          </p:grpSpPr>
          <p:grpSp>
            <p:nvGrpSpPr>
              <p:cNvPr id="150" name="Group 149"/>
              <p:cNvGrpSpPr/>
              <p:nvPr/>
            </p:nvGrpSpPr>
            <p:grpSpPr>
              <a:xfrm>
                <a:off x="516753" y="2718947"/>
                <a:ext cx="605761" cy="838575"/>
                <a:chOff x="8877856" y="3042381"/>
                <a:chExt cx="605761" cy="838575"/>
              </a:xfrm>
            </p:grpSpPr>
            <p:sp>
              <p:nvSpPr>
                <p:cNvPr id="171" name="Rectangle 17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2" name="Freeform 17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3" name="Freeform 17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4" name="Freeform 17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5" name="Freeform 17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6" name="Oval 17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7" name="Oval 17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8" name="Oval 17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9" name="Oval 17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51" name="Group 150"/>
              <p:cNvGrpSpPr/>
              <p:nvPr/>
            </p:nvGrpSpPr>
            <p:grpSpPr>
              <a:xfrm>
                <a:off x="1299676" y="2718947"/>
                <a:ext cx="605761" cy="838575"/>
                <a:chOff x="8877856" y="3042381"/>
                <a:chExt cx="605761" cy="838575"/>
              </a:xfrm>
            </p:grpSpPr>
            <p:sp>
              <p:nvSpPr>
                <p:cNvPr id="162" name="Rectangle 16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3" name="Freeform 16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4" name="Freeform 16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5" name="Freeform 16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6" name="Freeform 16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7" name="Oval 16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8" name="Oval 16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9" name="Oval 16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70" name="Oval 16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52" name="Group 151"/>
              <p:cNvGrpSpPr/>
              <p:nvPr/>
            </p:nvGrpSpPr>
            <p:grpSpPr>
              <a:xfrm>
                <a:off x="2082600" y="2718947"/>
                <a:ext cx="605761" cy="838575"/>
                <a:chOff x="8877856" y="3042381"/>
                <a:chExt cx="605761" cy="838575"/>
              </a:xfrm>
            </p:grpSpPr>
            <p:sp>
              <p:nvSpPr>
                <p:cNvPr id="153" name="Rectangle 152"/>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4" name="Freeform 15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5" name="Freeform 15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6" name="Freeform 15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7" name="Freeform 15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8" name="Oval 157"/>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59" name="Oval 158"/>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0" name="Oval 159"/>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61" name="Oval 160"/>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119" name="Group 118"/>
            <p:cNvGrpSpPr>
              <a:grpSpLocks noChangeAspect="1"/>
            </p:cNvGrpSpPr>
            <p:nvPr/>
          </p:nvGrpSpPr>
          <p:grpSpPr>
            <a:xfrm>
              <a:off x="7911043" y="3404414"/>
              <a:ext cx="3200400" cy="1235848"/>
              <a:chOff x="516754" y="2718947"/>
              <a:chExt cx="2171607" cy="838575"/>
            </a:xfrm>
          </p:grpSpPr>
          <p:grpSp>
            <p:nvGrpSpPr>
              <p:cNvPr id="120" name="Group 119"/>
              <p:cNvGrpSpPr/>
              <p:nvPr/>
            </p:nvGrpSpPr>
            <p:grpSpPr>
              <a:xfrm>
                <a:off x="516754" y="2718947"/>
                <a:ext cx="605761" cy="838575"/>
                <a:chOff x="8877856" y="3042381"/>
                <a:chExt cx="605761" cy="838575"/>
              </a:xfrm>
            </p:grpSpPr>
            <p:sp>
              <p:nvSpPr>
                <p:cNvPr id="141" name="Rectangle 14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2" name="Freeform 14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3" name="Freeform 14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4" name="Freeform 14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5" name="Freeform 14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6" name="Oval 14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7" name="Oval 14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8" name="Oval 14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9" name="Oval 14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21" name="Group 120"/>
              <p:cNvGrpSpPr/>
              <p:nvPr/>
            </p:nvGrpSpPr>
            <p:grpSpPr>
              <a:xfrm>
                <a:off x="1299677" y="2718947"/>
                <a:ext cx="605761" cy="838575"/>
                <a:chOff x="8877856" y="3042381"/>
                <a:chExt cx="605761" cy="838575"/>
              </a:xfrm>
            </p:grpSpPr>
            <p:sp>
              <p:nvSpPr>
                <p:cNvPr id="132" name="Rectangle 13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3" name="Freeform 13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4" name="Freeform 13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5" name="Freeform 13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6" name="Freeform 13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7" name="Oval 13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8" name="Oval 13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9" name="Oval 13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40" name="Oval 13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22" name="Group 121"/>
              <p:cNvGrpSpPr/>
              <p:nvPr/>
            </p:nvGrpSpPr>
            <p:grpSpPr>
              <a:xfrm>
                <a:off x="2082600" y="2718947"/>
                <a:ext cx="605761" cy="838575"/>
                <a:chOff x="8877856" y="3042381"/>
                <a:chExt cx="605761" cy="838575"/>
              </a:xfrm>
            </p:grpSpPr>
            <p:sp>
              <p:nvSpPr>
                <p:cNvPr id="123" name="Rectangle 122"/>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123"/>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124"/>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6" name="Freeform 125"/>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7" name="Freeform 126"/>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8" name="Oval 127"/>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9" name="Oval 128"/>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0" name="Oval 129"/>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1" name="Oval 130"/>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210" name="Right Brace 209"/>
          <p:cNvSpPr/>
          <p:nvPr/>
        </p:nvSpPr>
        <p:spPr>
          <a:xfrm rot="5400000" flipV="1">
            <a:off x="5921630" y="2712427"/>
            <a:ext cx="197571" cy="4205642"/>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3" name="Rectangle 212"/>
          <p:cNvSpPr/>
          <p:nvPr/>
        </p:nvSpPr>
        <p:spPr>
          <a:xfrm>
            <a:off x="306849" y="1358204"/>
            <a:ext cx="9839091" cy="1237262"/>
          </a:xfrm>
          <a:prstGeom prst="rect">
            <a:avLst/>
          </a:prstGeom>
        </p:spPr>
        <p:txBody>
          <a:bodyPr wrap="square">
            <a:spAutoFit/>
          </a:bodyPr>
          <a:lstStyle/>
          <a:p>
            <a:pPr marL="285750" marR="0" lvl="0" indent="-285750" defTabSz="91440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0" cap="none" spc="0" normalizeH="0" baseline="0" noProof="0" dirty="0">
                <a:ln>
                  <a:noFill/>
                </a:ln>
                <a:solidFill>
                  <a:schemeClr val="bg1"/>
                </a:solidFill>
                <a:effectLst/>
                <a:uLnTx/>
                <a:uFillTx/>
                <a:latin typeface="Segoe UI Light"/>
              </a:rPr>
              <a:t>Spin up for heavy workloads, cycle down for daily activity</a:t>
            </a:r>
          </a:p>
          <a:p>
            <a:pPr marL="285750" marR="0" lvl="0" indent="-285750" defTabSz="91440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0" cap="none" spc="0" normalizeH="0" baseline="0" noProof="0" dirty="0">
                <a:ln>
                  <a:noFill/>
                </a:ln>
                <a:solidFill>
                  <a:schemeClr val="bg1"/>
                </a:solidFill>
                <a:effectLst/>
                <a:uLnTx/>
                <a:uFillTx/>
                <a:latin typeface="Segoe UI Light"/>
              </a:rPr>
              <a:t>Buy time to insight based on what you need, when you need it</a:t>
            </a:r>
          </a:p>
          <a:p>
            <a:pPr marL="285750" marR="0" lvl="0" indent="-285750" defTabSz="91440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0" cap="none" spc="0" normalizeH="0" baseline="0" noProof="0" dirty="0">
                <a:ln>
                  <a:noFill/>
                </a:ln>
                <a:solidFill>
                  <a:schemeClr val="bg1"/>
                </a:solidFill>
                <a:effectLst/>
                <a:uLnTx/>
                <a:uFillTx/>
                <a:latin typeface="Segoe UI Light"/>
              </a:rPr>
              <a:t>Choose the combo of compute and storage that meets your needs</a:t>
            </a:r>
          </a:p>
        </p:txBody>
      </p:sp>
    </p:spTree>
    <p:extLst>
      <p:ext uri="{BB962C8B-B14F-4D97-AF65-F5344CB8AC3E}">
        <p14:creationId xmlns:p14="http://schemas.microsoft.com/office/powerpoint/2010/main" val="218536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41"/>
                                        </p:tgtEl>
                                      </p:cBhvr>
                                    </p:animEffect>
                                    <p:set>
                                      <p:cBhvr>
                                        <p:cTn id="7" dur="1" fill="hold">
                                          <p:stCondLst>
                                            <p:cond delay="499"/>
                                          </p:stCondLst>
                                        </p:cTn>
                                        <p:tgtEl>
                                          <p:spTgt spid="41"/>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4.09242E-6 7.71675E-8 L 0.35334 0.08874 " pathEditMode="relative" rAng="0" ptsTypes="AA">
                                      <p:cBhvr>
                                        <p:cTn id="10" dur="2000" fill="hold"/>
                                        <p:tgtEl>
                                          <p:spTgt spid="8"/>
                                        </p:tgtEl>
                                        <p:attrNameLst>
                                          <p:attrName>ppt_x</p:attrName>
                                          <p:attrName>ppt_y</p:attrName>
                                        </p:attrNameLst>
                                      </p:cBhvr>
                                      <p:rCtr x="17667" y="4426"/>
                                    </p:animMotion>
                                  </p:childTnLst>
                                </p:cTn>
                              </p:par>
                              <p:par>
                                <p:cTn id="11" presetID="10"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42" presetClass="path" presetSubtype="0" accel="50000" decel="50000" fill="hold" nodeType="withEffect">
                                  <p:stCondLst>
                                    <p:cond delay="0"/>
                                  </p:stCondLst>
                                  <p:childTnLst>
                                    <p:animMotion origin="layout" path="M -4.83533E-6 4.03995E-7 L -0.34043 0.10554 " pathEditMode="relative" rAng="0" ptsTypes="AA">
                                      <p:cBhvr>
                                        <p:cTn id="15" dur="2000" fill="hold"/>
                                        <p:tgtEl>
                                          <p:spTgt spid="85"/>
                                        </p:tgtEl>
                                        <p:attrNameLst>
                                          <p:attrName>ppt_x</p:attrName>
                                          <p:attrName>ppt_y</p:attrName>
                                        </p:attrNameLst>
                                      </p:cBhvr>
                                      <p:rCtr x="-17028" y="5266"/>
                                    </p:animMotion>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210"/>
                                        </p:tgtEl>
                                        <p:attrNameLst>
                                          <p:attrName>style.visibility</p:attrName>
                                        </p:attrNameLst>
                                      </p:cBhvr>
                                      <p:to>
                                        <p:strVal val="visible"/>
                                      </p:to>
                                    </p:set>
                                    <p:animEffect transition="in" filter="fade">
                                      <p:cBhvr>
                                        <p:cTn id="19" dur="500"/>
                                        <p:tgtEl>
                                          <p:spTgt spid="2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85"/>
                                        </p:tgtEl>
                                      </p:cBhvr>
                                    </p:animEffect>
                                    <p:set>
                                      <p:cBhvr>
                                        <p:cTn id="24" dur="1" fill="hold">
                                          <p:stCondLst>
                                            <p:cond delay="499"/>
                                          </p:stCondLst>
                                        </p:cTn>
                                        <p:tgtEl>
                                          <p:spTgt spid="85"/>
                                        </p:tgtEl>
                                        <p:attrNameLst>
                                          <p:attrName>style.visibility</p:attrName>
                                        </p:attrNameLst>
                                      </p:cBhvr>
                                      <p:to>
                                        <p:strVal val="hidden"/>
                                      </p:to>
                                    </p:se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16"/>
                                        </p:tgtEl>
                                        <p:attrNameLst>
                                          <p:attrName>style.visibility</p:attrName>
                                        </p:attrNameLst>
                                      </p:cBhvr>
                                      <p:to>
                                        <p:strVal val="visible"/>
                                      </p:to>
                                    </p:set>
                                    <p:animEffect transition="in" filter="fade">
                                      <p:cBhvr>
                                        <p:cTn id="28" dur="500"/>
                                        <p:tgtEl>
                                          <p:spTgt spid="116"/>
                                        </p:tgtEl>
                                      </p:cBhvr>
                                    </p:animEffect>
                                  </p:childTnLst>
                                </p:cTn>
                              </p:par>
                              <p:par>
                                <p:cTn id="29" presetID="6" presetClass="emph" presetSubtype="0" fill="hold" grpId="1" nodeType="withEffect">
                                  <p:stCondLst>
                                    <p:cond delay="0"/>
                                  </p:stCondLst>
                                  <p:childTnLst>
                                    <p:animScale>
                                      <p:cBhvr>
                                        <p:cTn id="30" dur="1000" fill="hold"/>
                                        <p:tgtEl>
                                          <p:spTgt spid="210"/>
                                        </p:tgtEl>
                                      </p:cBhvr>
                                      <p:by x="25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 grpId="0" animBg="1"/>
      <p:bldP spid="210"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use &amp; Restart</a:t>
            </a:r>
          </a:p>
        </p:txBody>
      </p:sp>
      <p:sp>
        <p:nvSpPr>
          <p:cNvPr id="141" name="Text Placeholder 140"/>
          <p:cNvSpPr>
            <a:spLocks noGrp="1"/>
          </p:cNvSpPr>
          <p:nvPr>
            <p:ph type="body" sz="quarter" idx="10"/>
          </p:nvPr>
        </p:nvSpPr>
        <p:spPr/>
        <p:txBody>
          <a:bodyPr/>
          <a:lstStyle/>
          <a:p>
            <a:endParaRPr lang="en-GB" dirty="0"/>
          </a:p>
        </p:txBody>
      </p:sp>
      <p:sp>
        <p:nvSpPr>
          <p:cNvPr id="3" name="Rectangle 2"/>
          <p:cNvSpPr/>
          <p:nvPr/>
        </p:nvSpPr>
        <p:spPr bwMode="auto">
          <a:xfrm>
            <a:off x="-15699" y="2632343"/>
            <a:ext cx="12434711" cy="436218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4" name="Group 3"/>
          <p:cNvGrpSpPr/>
          <p:nvPr/>
        </p:nvGrpSpPr>
        <p:grpSpPr>
          <a:xfrm>
            <a:off x="538928" y="2811461"/>
            <a:ext cx="7273951" cy="4565269"/>
            <a:chOff x="711660" y="1748219"/>
            <a:chExt cx="12403691" cy="5246306"/>
          </a:xfrm>
        </p:grpSpPr>
        <p:sp>
          <p:nvSpPr>
            <p:cNvPr id="5" name="Isosceles Triangle 4"/>
            <p:cNvSpPr/>
            <p:nvPr/>
          </p:nvSpPr>
          <p:spPr bwMode="auto">
            <a:xfrm rot="5400000">
              <a:off x="4974145" y="-1735647"/>
              <a:ext cx="3783584" cy="12268203"/>
            </a:xfrm>
            <a:prstGeom prst="triangle">
              <a:avLst>
                <a:gd name="adj" fmla="val 100000"/>
              </a:avLst>
            </a:prstGeom>
            <a:solidFill>
              <a:srgbClr val="107C10">
                <a:alpha val="25098"/>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6" name="Rectangle 5"/>
            <p:cNvSpPr/>
            <p:nvPr/>
          </p:nvSpPr>
          <p:spPr bwMode="auto">
            <a:xfrm>
              <a:off x="11515128" y="4794937"/>
              <a:ext cx="1600223" cy="219958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nvGrpSpPr>
            <p:cNvPr id="7" name="Group 6"/>
            <p:cNvGrpSpPr/>
            <p:nvPr/>
          </p:nvGrpSpPr>
          <p:grpSpPr>
            <a:xfrm>
              <a:off x="711660" y="1748219"/>
              <a:ext cx="11191240" cy="4569756"/>
              <a:chOff x="711660" y="1748219"/>
              <a:chExt cx="11191240" cy="4569756"/>
            </a:xfrm>
          </p:grpSpPr>
          <p:sp>
            <p:nvSpPr>
              <p:cNvPr id="8" name="Freeform 7"/>
              <p:cNvSpPr/>
              <p:nvPr/>
            </p:nvSpPr>
            <p:spPr bwMode="auto">
              <a:xfrm flipV="1">
                <a:off x="713286" y="2506662"/>
                <a:ext cx="11004719" cy="3408657"/>
              </a:xfrm>
              <a:custGeom>
                <a:avLst/>
                <a:gdLst>
                  <a:gd name="connsiteX0" fmla="*/ 0 w 9843911"/>
                  <a:gd name="connsiteY0" fmla="*/ 3375378 h 3375378"/>
                  <a:gd name="connsiteX1" fmla="*/ 9843911 w 9843911"/>
                  <a:gd name="connsiteY1" fmla="*/ 0 h 3375378"/>
                </a:gdLst>
                <a:ahLst/>
                <a:cxnLst>
                  <a:cxn ang="0">
                    <a:pos x="connsiteX0" y="connsiteY0"/>
                  </a:cxn>
                  <a:cxn ang="0">
                    <a:pos x="connsiteX1" y="connsiteY1"/>
                  </a:cxn>
                </a:cxnLst>
                <a:rect l="l" t="t" r="r" b="b"/>
                <a:pathLst>
                  <a:path w="9843911" h="3375378">
                    <a:moveTo>
                      <a:pt x="0" y="3375378"/>
                    </a:moveTo>
                    <a:lnTo>
                      <a:pt x="9843911" y="0"/>
                    </a:lnTo>
                  </a:path>
                </a:pathLst>
              </a:custGeom>
              <a:noFill/>
              <a:ln w="63500">
                <a:solidFill>
                  <a:srgbClr val="107C10"/>
                </a:solidFill>
                <a:headEnd type="none" w="med" len="med"/>
                <a:tailEnd type="triangle" w="lg"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316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Freeform 8"/>
              <p:cNvSpPr/>
              <p:nvPr/>
            </p:nvSpPr>
            <p:spPr bwMode="auto">
              <a:xfrm>
                <a:off x="711660" y="1748219"/>
                <a:ext cx="11191240" cy="4569756"/>
              </a:xfrm>
              <a:custGeom>
                <a:avLst/>
                <a:gdLst>
                  <a:gd name="connsiteX0" fmla="*/ 0 w 6445404"/>
                  <a:gd name="connsiteY0" fmla="*/ 0 h 2955073"/>
                  <a:gd name="connsiteX1" fmla="*/ 0 w 6445404"/>
                  <a:gd name="connsiteY1" fmla="*/ 2955073 h 2955073"/>
                  <a:gd name="connsiteX2" fmla="*/ 6445404 w 6445404"/>
                  <a:gd name="connsiteY2" fmla="*/ 2955073 h 2955073"/>
                </a:gdLst>
                <a:ahLst/>
                <a:cxnLst>
                  <a:cxn ang="0">
                    <a:pos x="connsiteX0" y="connsiteY0"/>
                  </a:cxn>
                  <a:cxn ang="0">
                    <a:pos x="connsiteX1" y="connsiteY1"/>
                  </a:cxn>
                  <a:cxn ang="0">
                    <a:pos x="connsiteX2" y="connsiteY2"/>
                  </a:cxn>
                </a:cxnLst>
                <a:rect l="l" t="t" r="r" b="b"/>
                <a:pathLst>
                  <a:path w="6445404" h="2955073">
                    <a:moveTo>
                      <a:pt x="0" y="0"/>
                    </a:moveTo>
                    <a:lnTo>
                      <a:pt x="0" y="2955073"/>
                    </a:lnTo>
                    <a:lnTo>
                      <a:pt x="6445404" y="2955073"/>
                    </a:lnTo>
                  </a:path>
                </a:pathLst>
              </a:custGeom>
              <a:noFill/>
              <a:ln w="38100">
                <a:solidFill>
                  <a:schemeClr val="accent1"/>
                </a:solidFill>
                <a:headEnd type="triangle" w="lg" len="med"/>
                <a:tailEnd type="triangle" w="lg"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3168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10" name="Freeform 9"/>
          <p:cNvSpPr>
            <a:spLocks/>
          </p:cNvSpPr>
          <p:nvPr/>
        </p:nvSpPr>
        <p:spPr bwMode="auto">
          <a:xfrm>
            <a:off x="7607832" y="4292570"/>
            <a:ext cx="4248967" cy="2570633"/>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1198" b="0" i="0" u="none" strike="noStrike" kern="1200" cap="none" spc="0" normalizeH="0" baseline="0" noProof="0" dirty="0">
              <a:ln>
                <a:noFill/>
              </a:ln>
              <a:solidFill>
                <a:srgbClr val="000000"/>
              </a:solidFill>
              <a:effectLst/>
              <a:uLnTx/>
              <a:uFillTx/>
              <a:latin typeface="Segoe UI" charset="0"/>
              <a:ea typeface="MS PGothic" charset="0"/>
              <a:cs typeface="MS PGothic" charset="0"/>
            </a:endParaRPr>
          </a:p>
        </p:txBody>
      </p:sp>
      <p:grpSp>
        <p:nvGrpSpPr>
          <p:cNvPr id="12" name="Group 11"/>
          <p:cNvGrpSpPr/>
          <p:nvPr/>
        </p:nvGrpSpPr>
        <p:grpSpPr>
          <a:xfrm>
            <a:off x="4846320" y="4983480"/>
            <a:ext cx="2395910" cy="1717986"/>
            <a:chOff x="473611" y="4368838"/>
            <a:chExt cx="2395910" cy="1717986"/>
          </a:xfrm>
        </p:grpSpPr>
        <p:grpSp>
          <p:nvGrpSpPr>
            <p:cNvPr id="13" name="Group 12"/>
            <p:cNvGrpSpPr/>
            <p:nvPr/>
          </p:nvGrpSpPr>
          <p:grpSpPr>
            <a:xfrm>
              <a:off x="473611" y="4379464"/>
              <a:ext cx="1392869" cy="1707360"/>
              <a:chOff x="313191" y="4732388"/>
              <a:chExt cx="1392869" cy="1707360"/>
            </a:xfrm>
          </p:grpSpPr>
          <p:grpSp>
            <p:nvGrpSpPr>
              <p:cNvPr id="30" name="Group 29"/>
              <p:cNvGrpSpPr>
                <a:grpSpLocks noChangeAspect="1"/>
              </p:cNvGrpSpPr>
              <p:nvPr/>
            </p:nvGrpSpPr>
            <p:grpSpPr>
              <a:xfrm>
                <a:off x="791659" y="4732388"/>
                <a:ext cx="914401" cy="1187440"/>
                <a:chOff x="1644407" y="5115540"/>
                <a:chExt cx="822960" cy="1068695"/>
              </a:xfrm>
            </p:grpSpPr>
            <p:sp>
              <p:nvSpPr>
                <p:cNvPr id="41" name="Rectangle 40"/>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42" name="Group 41"/>
                <p:cNvGrpSpPr/>
                <p:nvPr/>
              </p:nvGrpSpPr>
              <p:grpSpPr>
                <a:xfrm>
                  <a:off x="1644407" y="5115540"/>
                  <a:ext cx="822960" cy="1068695"/>
                  <a:chOff x="961359" y="2483721"/>
                  <a:chExt cx="822960" cy="1068695"/>
                </a:xfrm>
              </p:grpSpPr>
              <p:sp>
                <p:nvSpPr>
                  <p:cNvPr id="43" name="Oval 42"/>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4"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31" name="Group 30"/>
              <p:cNvGrpSpPr>
                <a:grpSpLocks noChangeAspect="1"/>
              </p:cNvGrpSpPr>
              <p:nvPr/>
            </p:nvGrpSpPr>
            <p:grpSpPr>
              <a:xfrm>
                <a:off x="552425" y="4994175"/>
                <a:ext cx="914401" cy="1183785"/>
                <a:chOff x="1645666" y="5118829"/>
                <a:chExt cx="822960" cy="1065406"/>
              </a:xfrm>
            </p:grpSpPr>
            <p:sp>
              <p:nvSpPr>
                <p:cNvPr id="37" name="Rectangle 36"/>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8" name="Group 37"/>
                <p:cNvGrpSpPr/>
                <p:nvPr/>
              </p:nvGrpSpPr>
              <p:grpSpPr>
                <a:xfrm>
                  <a:off x="1645666" y="5118829"/>
                  <a:ext cx="822960" cy="1065406"/>
                  <a:chOff x="962618" y="2487010"/>
                  <a:chExt cx="822960" cy="1065406"/>
                </a:xfrm>
              </p:grpSpPr>
              <p:sp>
                <p:nvSpPr>
                  <p:cNvPr id="39" name="Oval 38"/>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32" name="Group 31"/>
              <p:cNvGrpSpPr>
                <a:grpSpLocks noChangeAspect="1"/>
              </p:cNvGrpSpPr>
              <p:nvPr/>
            </p:nvGrpSpPr>
            <p:grpSpPr>
              <a:xfrm>
                <a:off x="313191" y="5252308"/>
                <a:ext cx="914401" cy="1187440"/>
                <a:chOff x="1625267" y="5096400"/>
                <a:chExt cx="822960" cy="1068695"/>
              </a:xfrm>
            </p:grpSpPr>
            <p:sp>
              <p:nvSpPr>
                <p:cNvPr id="33" name="Rectangle 32"/>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34" name="Group 33"/>
                <p:cNvGrpSpPr/>
                <p:nvPr/>
              </p:nvGrpSpPr>
              <p:grpSpPr>
                <a:xfrm>
                  <a:off x="1625267" y="5096400"/>
                  <a:ext cx="822960" cy="1068695"/>
                  <a:chOff x="942219" y="2464581"/>
                  <a:chExt cx="822960" cy="1068695"/>
                </a:xfrm>
              </p:grpSpPr>
              <p:sp>
                <p:nvSpPr>
                  <p:cNvPr id="35" name="Oval 34"/>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nvGrpSpPr>
            <p:cNvPr id="14" name="Group 13"/>
            <p:cNvGrpSpPr>
              <a:grpSpLocks noChangeAspect="1"/>
            </p:cNvGrpSpPr>
            <p:nvPr/>
          </p:nvGrpSpPr>
          <p:grpSpPr>
            <a:xfrm>
              <a:off x="2046561" y="4368838"/>
              <a:ext cx="822960" cy="1008773"/>
              <a:chOff x="313191" y="4732388"/>
              <a:chExt cx="1392869" cy="1707360"/>
            </a:xfrm>
          </p:grpSpPr>
          <p:grpSp>
            <p:nvGrpSpPr>
              <p:cNvPr id="15" name="Group 14"/>
              <p:cNvGrpSpPr>
                <a:grpSpLocks noChangeAspect="1"/>
              </p:cNvGrpSpPr>
              <p:nvPr/>
            </p:nvGrpSpPr>
            <p:grpSpPr>
              <a:xfrm>
                <a:off x="791659" y="4732388"/>
                <a:ext cx="914401" cy="1187440"/>
                <a:chOff x="1644407" y="5115540"/>
                <a:chExt cx="822960" cy="1068695"/>
              </a:xfrm>
            </p:grpSpPr>
            <p:sp>
              <p:nvSpPr>
                <p:cNvPr id="26" name="Rectangle 25"/>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7" name="Group 26"/>
                <p:cNvGrpSpPr/>
                <p:nvPr/>
              </p:nvGrpSpPr>
              <p:grpSpPr>
                <a:xfrm>
                  <a:off x="1644407" y="5115540"/>
                  <a:ext cx="822960" cy="1068695"/>
                  <a:chOff x="961359" y="2483721"/>
                  <a:chExt cx="822960" cy="1068695"/>
                </a:xfrm>
              </p:grpSpPr>
              <p:sp>
                <p:nvSpPr>
                  <p:cNvPr id="28" name="Oval 27"/>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9"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6" name="Group 15"/>
              <p:cNvGrpSpPr>
                <a:grpSpLocks noChangeAspect="1"/>
              </p:cNvGrpSpPr>
              <p:nvPr/>
            </p:nvGrpSpPr>
            <p:grpSpPr>
              <a:xfrm>
                <a:off x="552425" y="4994175"/>
                <a:ext cx="914401" cy="1183785"/>
                <a:chOff x="1645666" y="5118829"/>
                <a:chExt cx="822960" cy="1065406"/>
              </a:xfrm>
            </p:grpSpPr>
            <p:sp>
              <p:nvSpPr>
                <p:cNvPr id="22" name="Rectangle 21"/>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3" name="Group 22"/>
                <p:cNvGrpSpPr/>
                <p:nvPr/>
              </p:nvGrpSpPr>
              <p:grpSpPr>
                <a:xfrm>
                  <a:off x="1645666" y="5118829"/>
                  <a:ext cx="822960" cy="1065406"/>
                  <a:chOff x="962618" y="2487010"/>
                  <a:chExt cx="822960" cy="1065406"/>
                </a:xfrm>
              </p:grpSpPr>
              <p:sp>
                <p:nvSpPr>
                  <p:cNvPr id="24" name="Oval 23"/>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5"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7" name="Group 16"/>
              <p:cNvGrpSpPr>
                <a:grpSpLocks noChangeAspect="1"/>
              </p:cNvGrpSpPr>
              <p:nvPr/>
            </p:nvGrpSpPr>
            <p:grpSpPr>
              <a:xfrm>
                <a:off x="313191" y="5252308"/>
                <a:ext cx="914401" cy="1187440"/>
                <a:chOff x="1625267" y="5096400"/>
                <a:chExt cx="822960" cy="1068695"/>
              </a:xfrm>
            </p:grpSpPr>
            <p:sp>
              <p:nvSpPr>
                <p:cNvPr id="18" name="Rectangle 17"/>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120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19" name="Group 18"/>
                <p:cNvGrpSpPr/>
                <p:nvPr/>
              </p:nvGrpSpPr>
              <p:grpSpPr>
                <a:xfrm>
                  <a:off x="1625267" y="5096400"/>
                  <a:ext cx="822960" cy="1068695"/>
                  <a:chOff x="942219" y="2464581"/>
                  <a:chExt cx="822960" cy="1068695"/>
                </a:xfrm>
              </p:grpSpPr>
              <p:sp>
                <p:nvSpPr>
                  <p:cNvPr id="20" name="Oval 19"/>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Freeform 20"/>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grpSp>
      <p:grpSp>
        <p:nvGrpSpPr>
          <p:cNvPr id="45" name="Group 44"/>
          <p:cNvGrpSpPr/>
          <p:nvPr/>
        </p:nvGrpSpPr>
        <p:grpSpPr>
          <a:xfrm>
            <a:off x="960120" y="3401568"/>
            <a:ext cx="10151006" cy="1235848"/>
            <a:chOff x="960437" y="3404414"/>
            <a:chExt cx="10151006" cy="1235848"/>
          </a:xfrm>
        </p:grpSpPr>
        <p:grpSp>
          <p:nvGrpSpPr>
            <p:cNvPr id="46" name="Group 45"/>
            <p:cNvGrpSpPr>
              <a:grpSpLocks noChangeAspect="1"/>
            </p:cNvGrpSpPr>
            <p:nvPr/>
          </p:nvGrpSpPr>
          <p:grpSpPr>
            <a:xfrm>
              <a:off x="4435742" y="3404414"/>
              <a:ext cx="3200400" cy="1235848"/>
              <a:chOff x="516754" y="2718947"/>
              <a:chExt cx="2171607" cy="838575"/>
            </a:xfrm>
          </p:grpSpPr>
          <p:grpSp>
            <p:nvGrpSpPr>
              <p:cNvPr id="109" name="Group 108"/>
              <p:cNvGrpSpPr/>
              <p:nvPr/>
            </p:nvGrpSpPr>
            <p:grpSpPr>
              <a:xfrm>
                <a:off x="516754" y="2718947"/>
                <a:ext cx="605761" cy="838575"/>
                <a:chOff x="8877856" y="3042381"/>
                <a:chExt cx="605761" cy="838575"/>
              </a:xfrm>
            </p:grpSpPr>
            <p:sp>
              <p:nvSpPr>
                <p:cNvPr id="130" name="Rectangle 129"/>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1" name="Freeform 130"/>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2" name="Freeform 131"/>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3" name="Freeform 132"/>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4" name="Freeform 133"/>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5" name="Oval 134"/>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6" name="Oval 135"/>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7" name="Oval 136"/>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38" name="Oval 137"/>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10" name="Group 109"/>
              <p:cNvGrpSpPr/>
              <p:nvPr/>
            </p:nvGrpSpPr>
            <p:grpSpPr>
              <a:xfrm>
                <a:off x="1299677" y="2718947"/>
                <a:ext cx="605761" cy="838575"/>
                <a:chOff x="8877856" y="3042381"/>
                <a:chExt cx="605761" cy="838575"/>
              </a:xfrm>
            </p:grpSpPr>
            <p:sp>
              <p:nvSpPr>
                <p:cNvPr id="121" name="Rectangle 12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12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12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12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5" name="Freeform 12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6" name="Oval 12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7" name="Oval 12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8" name="Oval 12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9" name="Oval 12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11" name="Group 110"/>
              <p:cNvGrpSpPr/>
              <p:nvPr/>
            </p:nvGrpSpPr>
            <p:grpSpPr>
              <a:xfrm>
                <a:off x="2082600" y="2718947"/>
                <a:ext cx="605761" cy="838575"/>
                <a:chOff x="8877856" y="3042381"/>
                <a:chExt cx="605761" cy="838575"/>
              </a:xfrm>
            </p:grpSpPr>
            <p:sp>
              <p:nvSpPr>
                <p:cNvPr id="112" name="Rectangle 11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3" name="Freeform 11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4" name="Freeform 11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5" name="Freeform 11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6" name="Freeform 11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7" name="Oval 11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8" name="Oval 11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19" name="Oval 11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20" name="Oval 11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47" name="Group 46"/>
            <p:cNvGrpSpPr>
              <a:grpSpLocks noChangeAspect="1"/>
            </p:cNvGrpSpPr>
            <p:nvPr/>
          </p:nvGrpSpPr>
          <p:grpSpPr>
            <a:xfrm>
              <a:off x="960437" y="3404414"/>
              <a:ext cx="3200403" cy="1235848"/>
              <a:chOff x="516753" y="2718947"/>
              <a:chExt cx="2171608" cy="838575"/>
            </a:xfrm>
          </p:grpSpPr>
          <p:grpSp>
            <p:nvGrpSpPr>
              <p:cNvPr id="79" name="Group 78"/>
              <p:cNvGrpSpPr/>
              <p:nvPr/>
            </p:nvGrpSpPr>
            <p:grpSpPr>
              <a:xfrm>
                <a:off x="516753" y="2718947"/>
                <a:ext cx="605761" cy="838575"/>
                <a:chOff x="8877856" y="3042381"/>
                <a:chExt cx="605761" cy="838575"/>
              </a:xfrm>
            </p:grpSpPr>
            <p:sp>
              <p:nvSpPr>
                <p:cNvPr id="100" name="Rectangle 99"/>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1" name="Freeform 100"/>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2" name="Freeform 101"/>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3" name="Freeform 102"/>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4" name="Freeform 103"/>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5" name="Oval 104"/>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6" name="Oval 105"/>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7" name="Oval 106"/>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108" name="Oval 107"/>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0" name="Group 79"/>
              <p:cNvGrpSpPr/>
              <p:nvPr/>
            </p:nvGrpSpPr>
            <p:grpSpPr>
              <a:xfrm>
                <a:off x="1299676" y="2718947"/>
                <a:ext cx="605761" cy="838575"/>
                <a:chOff x="8877856" y="3042381"/>
                <a:chExt cx="605761" cy="838575"/>
              </a:xfrm>
            </p:grpSpPr>
            <p:sp>
              <p:nvSpPr>
                <p:cNvPr id="91" name="Rectangle 9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2" name="Freeform 9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3" name="Freeform 9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4" name="Freeform 9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5" name="Freeform 9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6" name="Oval 9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7" name="Oval 9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8" name="Oval 9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9" name="Oval 9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1" name="Group 80"/>
              <p:cNvGrpSpPr/>
              <p:nvPr/>
            </p:nvGrpSpPr>
            <p:grpSpPr>
              <a:xfrm>
                <a:off x="2082600" y="2718947"/>
                <a:ext cx="605761" cy="838575"/>
                <a:chOff x="8877856" y="3042381"/>
                <a:chExt cx="605761" cy="838575"/>
              </a:xfrm>
            </p:grpSpPr>
            <p:sp>
              <p:nvSpPr>
                <p:cNvPr id="82" name="Rectangle 8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3" name="Freeform 8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4" name="Freeform 8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5" name="Freeform 8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6" name="Freeform 8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7" name="Oval 8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8" name="Oval 8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89" name="Oval 8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90" name="Oval 8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48" name="Group 47"/>
            <p:cNvGrpSpPr>
              <a:grpSpLocks noChangeAspect="1"/>
            </p:cNvGrpSpPr>
            <p:nvPr/>
          </p:nvGrpSpPr>
          <p:grpSpPr>
            <a:xfrm>
              <a:off x="7911043" y="3404414"/>
              <a:ext cx="3200400" cy="1235848"/>
              <a:chOff x="516754" y="2718947"/>
              <a:chExt cx="2171607" cy="838575"/>
            </a:xfrm>
          </p:grpSpPr>
          <p:grpSp>
            <p:nvGrpSpPr>
              <p:cNvPr id="49" name="Group 48"/>
              <p:cNvGrpSpPr/>
              <p:nvPr/>
            </p:nvGrpSpPr>
            <p:grpSpPr>
              <a:xfrm>
                <a:off x="516754" y="2718947"/>
                <a:ext cx="605761" cy="838575"/>
                <a:chOff x="8877856" y="3042381"/>
                <a:chExt cx="605761" cy="838575"/>
              </a:xfrm>
            </p:grpSpPr>
            <p:sp>
              <p:nvSpPr>
                <p:cNvPr id="70" name="Rectangle 69"/>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1" name="Freeform 70"/>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2" name="Freeform 71"/>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3" name="Freeform 72"/>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4" name="Freeform 73"/>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5" name="Oval 74"/>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6" name="Oval 75"/>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7" name="Oval 76"/>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78" name="Oval 77"/>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0" name="Group 49"/>
              <p:cNvGrpSpPr/>
              <p:nvPr/>
            </p:nvGrpSpPr>
            <p:grpSpPr>
              <a:xfrm>
                <a:off x="1299677" y="2718947"/>
                <a:ext cx="605761" cy="838575"/>
                <a:chOff x="8877856" y="3042381"/>
                <a:chExt cx="605761" cy="838575"/>
              </a:xfrm>
            </p:grpSpPr>
            <p:sp>
              <p:nvSpPr>
                <p:cNvPr id="61" name="Rectangle 60"/>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2" name="Freeform 61"/>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3" name="Freeform 62"/>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4" name="Freeform 63"/>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5" name="Freeform 64"/>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6" name="Oval 65"/>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7" name="Oval 66"/>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8" name="Oval 67"/>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9" name="Oval 68"/>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51" name="Group 50"/>
              <p:cNvGrpSpPr/>
              <p:nvPr/>
            </p:nvGrpSpPr>
            <p:grpSpPr>
              <a:xfrm>
                <a:off x="2082600" y="2718947"/>
                <a:ext cx="605761" cy="838575"/>
                <a:chOff x="8877856" y="3042381"/>
                <a:chExt cx="605761" cy="838575"/>
              </a:xfrm>
            </p:grpSpPr>
            <p:sp>
              <p:nvSpPr>
                <p:cNvPr id="52" name="Rectangle 51"/>
                <p:cNvSpPr>
                  <a:spLocks noChangeArrowheads="1"/>
                </p:cNvSpPr>
                <p:nvPr/>
              </p:nvSpPr>
              <p:spPr bwMode="auto">
                <a:xfrm>
                  <a:off x="8877856" y="3042381"/>
                  <a:ext cx="605761" cy="838575"/>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3" name="Freeform 52"/>
                <p:cNvSpPr>
                  <a:spLocks/>
                </p:cNvSpPr>
                <p:nvPr/>
              </p:nvSpPr>
              <p:spPr bwMode="auto">
                <a:xfrm>
                  <a:off x="8942738" y="3140380"/>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53"/>
                <p:cNvSpPr>
                  <a:spLocks/>
                </p:cNvSpPr>
                <p:nvPr/>
              </p:nvSpPr>
              <p:spPr bwMode="auto">
                <a:xfrm>
                  <a:off x="8942738" y="3291721"/>
                  <a:ext cx="475999" cy="85594"/>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5" name="Freeform 54"/>
                <p:cNvSpPr>
                  <a:spLocks/>
                </p:cNvSpPr>
                <p:nvPr/>
              </p:nvSpPr>
              <p:spPr bwMode="auto">
                <a:xfrm>
                  <a:off x="8942738" y="3441821"/>
                  <a:ext cx="475999" cy="85594"/>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6" name="Freeform 55"/>
                <p:cNvSpPr>
                  <a:spLocks/>
                </p:cNvSpPr>
                <p:nvPr/>
              </p:nvSpPr>
              <p:spPr bwMode="auto">
                <a:xfrm>
                  <a:off x="8942738" y="3593161"/>
                  <a:ext cx="475999" cy="85594"/>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7" name="Oval 56"/>
                <p:cNvSpPr>
                  <a:spLocks noChangeArrowheads="1"/>
                </p:cNvSpPr>
                <p:nvPr/>
              </p:nvSpPr>
              <p:spPr bwMode="auto">
                <a:xfrm>
                  <a:off x="9327781" y="315836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8" name="Oval 57"/>
                <p:cNvSpPr>
                  <a:spLocks noChangeArrowheads="1"/>
                </p:cNvSpPr>
                <p:nvPr/>
              </p:nvSpPr>
              <p:spPr bwMode="auto">
                <a:xfrm>
                  <a:off x="9327781" y="3309708"/>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59" name="Oval 58"/>
                <p:cNvSpPr>
                  <a:spLocks noChangeArrowheads="1"/>
                </p:cNvSpPr>
                <p:nvPr/>
              </p:nvSpPr>
              <p:spPr bwMode="auto">
                <a:xfrm>
                  <a:off x="9327781" y="346104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sp>
              <p:nvSpPr>
                <p:cNvPr id="60" name="Oval 59"/>
                <p:cNvSpPr>
                  <a:spLocks noChangeArrowheads="1"/>
                </p:cNvSpPr>
                <p:nvPr/>
              </p:nvSpPr>
              <p:spPr bwMode="auto">
                <a:xfrm>
                  <a:off x="9327781" y="3612389"/>
                  <a:ext cx="46084" cy="47139"/>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139" name="Right Brace 138"/>
          <p:cNvSpPr/>
          <p:nvPr/>
        </p:nvSpPr>
        <p:spPr>
          <a:xfrm rot="5400000" flipV="1">
            <a:off x="5925312" y="-441804"/>
            <a:ext cx="197571" cy="10514105"/>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marL="0" marR="0" lvl="0" indent="0" algn="ctr" defTabSz="9313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TextBox 139"/>
          <p:cNvSpPr txBox="1"/>
          <p:nvPr/>
        </p:nvSpPr>
        <p:spPr>
          <a:xfrm>
            <a:off x="3396239" y="4255752"/>
            <a:ext cx="1363194" cy="7940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004B1C"/>
                </a:solidFill>
                <a:effectLst/>
                <a:uLnTx/>
                <a:uFillTx/>
                <a:latin typeface="Segoe UI"/>
                <a:ea typeface="+mn-ea"/>
                <a:cs typeface="+mn-cs"/>
              </a:rPr>
              <a:t>$$$$</a:t>
            </a:r>
          </a:p>
        </p:txBody>
      </p:sp>
    </p:spTree>
    <p:extLst>
      <p:ext uri="{BB962C8B-B14F-4D97-AF65-F5344CB8AC3E}">
        <p14:creationId xmlns:p14="http://schemas.microsoft.com/office/powerpoint/2010/main" val="1889163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5"/>
                                        </p:tgtEl>
                                      </p:cBhvr>
                                    </p:animEffect>
                                    <p:set>
                                      <p:cBhvr>
                                        <p:cTn id="7" dur="1" fill="hold">
                                          <p:stCondLst>
                                            <p:cond delay="499"/>
                                          </p:stCondLst>
                                        </p:cTn>
                                        <p:tgtEl>
                                          <p:spTgt spid="45"/>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39"/>
                                        </p:tgtEl>
                                      </p:cBhvr>
                                    </p:animEffect>
                                    <p:set>
                                      <p:cBhvr>
                                        <p:cTn id="10" dur="1" fill="hold">
                                          <p:stCondLst>
                                            <p:cond delay="499"/>
                                          </p:stCondLst>
                                        </p:cTn>
                                        <p:tgtEl>
                                          <p:spTgt spid="139"/>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42" presetClass="path" presetSubtype="0" accel="50000" decel="50000" fill="hold" nodeType="withEffect">
                                  <p:stCondLst>
                                    <p:cond delay="0"/>
                                  </p:stCondLst>
                                  <p:childTnLst>
                                    <p:animMotion origin="layout" path="M 1.35818E-6 -4.6936E-6 L 0.28976 0.00931 " pathEditMode="relative" rAng="0" ptsTypes="AA">
                                      <p:cBhvr>
                                        <p:cTn id="16" dur="2000" fill="hold"/>
                                        <p:tgtEl>
                                          <p:spTgt spid="12"/>
                                        </p:tgtEl>
                                        <p:attrNameLst>
                                          <p:attrName>ppt_x</p:attrName>
                                          <p:attrName>ppt_y</p:attrName>
                                        </p:attrNameLst>
                                      </p:cBhvr>
                                      <p:rCtr x="14488" y="454"/>
                                    </p:animMotion>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3000"/>
                                        <p:tgtEl>
                                          <p:spTgt spid="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0"/>
                                        </p:tgtEl>
                                        <p:attrNameLst>
                                          <p:attrName>style.visibility</p:attrName>
                                        </p:attrNameLst>
                                      </p:cBhvr>
                                      <p:to>
                                        <p:strVal val="visible"/>
                                      </p:to>
                                    </p:set>
                                    <p:animEffect transition="in" filter="fade">
                                      <p:cBhvr>
                                        <p:cTn id="22" dur="30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9" grpId="0" animBg="1"/>
      <p:bldP spid="14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MP vs MPP </a:t>
            </a:r>
          </a:p>
        </p:txBody>
      </p:sp>
      <p:sp>
        <p:nvSpPr>
          <p:cNvPr id="2" name="Text Placeholder 1"/>
          <p:cNvSpPr>
            <a:spLocks noGrp="1"/>
          </p:cNvSpPr>
          <p:nvPr>
            <p:ph type="body" sz="quarter" idx="10"/>
          </p:nvPr>
        </p:nvSpPr>
        <p:spPr>
          <a:xfrm>
            <a:off x="274638" y="1472405"/>
            <a:ext cx="11887199" cy="800219"/>
          </a:xfrm>
        </p:spPr>
        <p:txBody>
          <a:bodyPr/>
          <a:lstStyle/>
          <a:p>
            <a:pPr marL="342900" indent="-342900">
              <a:buFont typeface="Arial" panose="020B0604020202020204" pitchFamily="34" charset="0"/>
              <a:buChar char="•"/>
            </a:pPr>
            <a:r>
              <a:rPr lang="en-GB" sz="2000" dirty="0">
                <a:solidFill>
                  <a:schemeClr val="bg1"/>
                </a:solidFill>
              </a:rPr>
              <a:t>Symmetric Multi-Processing access single shared memory, scale up (classic SQL)</a:t>
            </a:r>
          </a:p>
          <a:p>
            <a:pPr marL="342900" indent="-342900">
              <a:buFont typeface="Arial" panose="020B0604020202020204" pitchFamily="34" charset="0"/>
              <a:buChar char="•"/>
            </a:pPr>
            <a:r>
              <a:rPr lang="en-GB" sz="2000" dirty="0">
                <a:solidFill>
                  <a:schemeClr val="bg1"/>
                </a:solidFill>
              </a:rPr>
              <a:t>Multi Parallel-Processing, shared nothing (Data warehouse)</a:t>
            </a:r>
          </a:p>
        </p:txBody>
      </p:sp>
      <p:pic>
        <p:nvPicPr>
          <p:cNvPr id="4" name="Picture 3"/>
          <p:cNvPicPr>
            <a:picLocks noChangeAspect="1"/>
          </p:cNvPicPr>
          <p:nvPr/>
        </p:nvPicPr>
        <p:blipFill>
          <a:blip r:embed="rId2"/>
          <a:stretch>
            <a:fillRect/>
          </a:stretch>
        </p:blipFill>
        <p:spPr>
          <a:xfrm>
            <a:off x="808037" y="2506662"/>
            <a:ext cx="10818483" cy="4038600"/>
          </a:xfrm>
          <a:prstGeom prst="rect">
            <a:avLst/>
          </a:prstGeom>
        </p:spPr>
      </p:pic>
    </p:spTree>
    <p:extLst>
      <p:ext uri="{BB962C8B-B14F-4D97-AF65-F5344CB8AC3E}">
        <p14:creationId xmlns:p14="http://schemas.microsoft.com/office/powerpoint/2010/main" val="13536756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4800" dirty="0"/>
              <a:t>Query unstructured data via </a:t>
            </a:r>
            <a:r>
              <a:rPr lang="en-GB" sz="4800" dirty="0" err="1"/>
              <a:t>Polybase</a:t>
            </a:r>
            <a:r>
              <a:rPr lang="en-GB" sz="4800" dirty="0"/>
              <a:t>/T-SQL</a:t>
            </a:r>
          </a:p>
        </p:txBody>
      </p:sp>
      <p:pic>
        <p:nvPicPr>
          <p:cNvPr id="5" name="Picture 4"/>
          <p:cNvPicPr>
            <a:picLocks noChangeAspect="1"/>
          </p:cNvPicPr>
          <p:nvPr/>
        </p:nvPicPr>
        <p:blipFill>
          <a:blip r:embed="rId2"/>
          <a:stretch>
            <a:fillRect/>
          </a:stretch>
        </p:blipFill>
        <p:spPr>
          <a:xfrm>
            <a:off x="337557" y="1897062"/>
            <a:ext cx="11827859" cy="4572000"/>
          </a:xfrm>
          <a:prstGeom prst="rect">
            <a:avLst/>
          </a:prstGeom>
        </p:spPr>
      </p:pic>
    </p:spTree>
    <p:extLst>
      <p:ext uri="{BB962C8B-B14F-4D97-AF65-F5344CB8AC3E}">
        <p14:creationId xmlns:p14="http://schemas.microsoft.com/office/powerpoint/2010/main" val="22870323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4146011" y="3475885"/>
            <a:ext cx="8289582" cy="3180200"/>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Title 1"/>
          <p:cNvSpPr txBox="1">
            <a:spLocks/>
          </p:cNvSpPr>
          <p:nvPr/>
        </p:nvSpPr>
        <p:spPr>
          <a:xfrm>
            <a:off x="275481" y="4585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pPr marL="0" marR="0" lvl="0" indent="0" algn="l" defTabSz="914367" rtl="0" eaLnBrk="1" fontAlgn="auto" latinLnBrk="0" hangingPunct="1">
              <a:lnSpc>
                <a:spcPts val="6176"/>
              </a:lnSpc>
              <a:spcBef>
                <a:spcPct val="0"/>
              </a:spcBef>
              <a:spcAft>
                <a:spcPts val="0"/>
              </a:spcAft>
              <a:buClrTx/>
              <a:buSzTx/>
              <a:buFontTx/>
              <a:buNone/>
              <a:tabLst/>
              <a:defRPr/>
            </a:pPr>
            <a:r>
              <a:rPr kumimoji="0" lang="en-GB" sz="4800" b="0" i="0" u="none" strike="noStrike" kern="1200" cap="none" spc="-100" normalizeH="0" baseline="0" noProof="0" dirty="0">
                <a:ln w="3175">
                  <a:noFill/>
                </a:ln>
                <a:solidFill>
                  <a:schemeClr val="accent2"/>
                </a:solidFill>
                <a:effectLst/>
                <a:uLnTx/>
                <a:uFillTx/>
                <a:latin typeface="+mj-lt"/>
                <a:ea typeface="+mn-ea"/>
                <a:cs typeface="Segoe UI" pitchFamily="34" charset="0"/>
              </a:rPr>
              <a:t>Data Warehouse Units (DWUs)</a:t>
            </a:r>
            <a:endParaRPr kumimoji="0" lang="en-US" sz="4488" b="0" i="0" u="none" strike="noStrike" kern="1200" cap="none" spc="-100" normalizeH="0" baseline="0" noProof="0" dirty="0">
              <a:ln w="3175">
                <a:noFill/>
              </a:ln>
              <a:solidFill>
                <a:srgbClr val="0070C0"/>
              </a:solidFill>
              <a:effectLst/>
              <a:uLnTx/>
              <a:uFillTx/>
              <a:latin typeface="+mj-lt"/>
              <a:ea typeface="+mn-ea"/>
              <a:cs typeface="Segoe UI" pitchFamily="34" charset="0"/>
            </a:endParaRPr>
          </a:p>
        </p:txBody>
      </p:sp>
      <p:sp>
        <p:nvSpPr>
          <p:cNvPr id="23" name="Rectangle 22"/>
          <p:cNvSpPr/>
          <p:nvPr/>
        </p:nvSpPr>
        <p:spPr>
          <a:xfrm>
            <a:off x="4146011" y="1314076"/>
            <a:ext cx="8289582" cy="10494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marR="0" lvl="0" indent="0" defTabSz="914400" eaLnBrk="1" fontAlgn="auto" latinLnBrk="0" hangingPunct="1">
              <a:lnSpc>
                <a:spcPts val="2448"/>
              </a:lnSpc>
              <a:spcBef>
                <a:spcPts val="0"/>
              </a:spcBef>
              <a:spcAft>
                <a:spcPts val="0"/>
              </a:spcAft>
              <a:buClrTx/>
              <a:buSzTx/>
              <a:buFontTx/>
              <a:buNone/>
              <a:tabLst/>
              <a:defRPr/>
            </a:pPr>
            <a:r>
              <a:rPr kumimoji="0" lang="en-GB" sz="2040" b="0" i="0" u="none" strike="noStrike" kern="0" cap="none" spc="0" normalizeH="0" baseline="0" noProof="0" dirty="0">
                <a:ln>
                  <a:noFill/>
                </a:ln>
                <a:solidFill>
                  <a:sysClr val="windowText" lastClr="000000"/>
                </a:solidFill>
                <a:effectLst/>
                <a:uLnTx/>
                <a:uFillTx/>
                <a:latin typeface="+mj-lt"/>
              </a:rPr>
              <a:t>Number of records that can be loaded into the data warehouse per second</a:t>
            </a:r>
            <a:endParaRPr kumimoji="0" lang="en-US" sz="2040" b="0" i="0" u="none" strike="noStrike" kern="0" cap="none" spc="0" normalizeH="0" baseline="0" noProof="0" dirty="0">
              <a:ln>
                <a:noFill/>
              </a:ln>
              <a:solidFill>
                <a:sysClr val="windowText" lastClr="000000"/>
              </a:solidFill>
              <a:effectLst/>
              <a:uLnTx/>
              <a:uFillTx/>
              <a:latin typeface="+mj-lt"/>
            </a:endParaRPr>
          </a:p>
        </p:txBody>
      </p:sp>
      <p:sp>
        <p:nvSpPr>
          <p:cNvPr id="24" name="Rectangle 23"/>
          <p:cNvSpPr/>
          <p:nvPr/>
        </p:nvSpPr>
        <p:spPr>
          <a:xfrm>
            <a:off x="4146011" y="2422043"/>
            <a:ext cx="8289582" cy="1053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marR="0" lvl="0" indent="0" defTabSz="914400" eaLnBrk="1" fontAlgn="auto" latinLnBrk="0" hangingPunct="1">
              <a:lnSpc>
                <a:spcPts val="2448"/>
              </a:lnSpc>
              <a:spcBef>
                <a:spcPts val="0"/>
              </a:spcBef>
              <a:spcAft>
                <a:spcPts val="0"/>
              </a:spcAft>
              <a:buClrTx/>
              <a:buSzTx/>
              <a:buFontTx/>
              <a:buNone/>
              <a:tabLst/>
              <a:defRPr/>
            </a:pPr>
            <a:r>
              <a:rPr kumimoji="0" lang="en-GB" sz="2040" b="0" i="0" u="none" strike="noStrike" kern="0" cap="none" spc="0" normalizeH="0" baseline="0" noProof="0" dirty="0">
                <a:ln>
                  <a:noFill/>
                </a:ln>
                <a:solidFill>
                  <a:sysClr val="windowText" lastClr="000000"/>
                </a:solidFill>
                <a:effectLst/>
                <a:uLnTx/>
                <a:uFillTx/>
                <a:latin typeface="+mj-lt"/>
              </a:rPr>
              <a:t>Number of records that can be sequentially retrieved from the data warehouse per second</a:t>
            </a:r>
            <a:endParaRPr kumimoji="0" lang="en-US" sz="2040" b="0" i="0" u="none" strike="noStrike" kern="0" cap="none" spc="0" normalizeH="0" baseline="0" noProof="0" dirty="0">
              <a:ln>
                <a:noFill/>
              </a:ln>
              <a:solidFill>
                <a:sysClr val="windowText" lastClr="000000"/>
              </a:solidFill>
              <a:effectLst/>
              <a:uLnTx/>
              <a:uFillTx/>
              <a:latin typeface="+mj-lt"/>
            </a:endParaRPr>
          </a:p>
        </p:txBody>
      </p:sp>
      <p:grpSp>
        <p:nvGrpSpPr>
          <p:cNvPr id="27" name="Group 38"/>
          <p:cNvGrpSpPr>
            <a:grpSpLocks/>
          </p:cNvGrpSpPr>
          <p:nvPr/>
        </p:nvGrpSpPr>
        <p:grpSpPr bwMode="auto">
          <a:xfrm>
            <a:off x="4378256" y="1536191"/>
            <a:ext cx="605194" cy="605194"/>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grpSp>
        <p:nvGrpSpPr>
          <p:cNvPr id="38" name="Group 38"/>
          <p:cNvGrpSpPr>
            <a:grpSpLocks/>
          </p:cNvGrpSpPr>
          <p:nvPr/>
        </p:nvGrpSpPr>
        <p:grpSpPr bwMode="auto">
          <a:xfrm>
            <a:off x="4378256" y="2646368"/>
            <a:ext cx="605194" cy="605194"/>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grpSp>
        <p:nvGrpSpPr>
          <p:cNvPr id="41" name="Group 38"/>
          <p:cNvGrpSpPr>
            <a:grpSpLocks/>
          </p:cNvGrpSpPr>
          <p:nvPr/>
        </p:nvGrpSpPr>
        <p:grpSpPr bwMode="auto">
          <a:xfrm>
            <a:off x="2500663" y="3936974"/>
            <a:ext cx="605194" cy="605194"/>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sp>
        <p:nvSpPr>
          <p:cNvPr id="44" name="Rectangle 43"/>
          <p:cNvSpPr/>
          <p:nvPr/>
        </p:nvSpPr>
        <p:spPr>
          <a:xfrm>
            <a:off x="1824337" y="1314076"/>
            <a:ext cx="2221640" cy="104942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marL="408011" marR="0" lvl="0" indent="-408011"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chemeClr val="bg1"/>
                </a:solidFill>
                <a:effectLst/>
                <a:uLnTx/>
                <a:uFillTx/>
                <a:latin typeface="+mj-lt"/>
              </a:rPr>
              <a:t>Load rate</a:t>
            </a:r>
          </a:p>
        </p:txBody>
      </p:sp>
      <p:sp>
        <p:nvSpPr>
          <p:cNvPr id="45" name="Rectangle 44"/>
          <p:cNvSpPr/>
          <p:nvPr/>
        </p:nvSpPr>
        <p:spPr>
          <a:xfrm>
            <a:off x="1824337" y="2422043"/>
            <a:ext cx="2221640" cy="10538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chemeClr val="bg1"/>
                </a:solidFill>
                <a:effectLst/>
                <a:uLnTx/>
                <a:uFillTx/>
                <a:latin typeface="+mj-lt"/>
              </a:rPr>
              <a:t>Scan rate</a:t>
            </a:r>
          </a:p>
        </p:txBody>
      </p:sp>
      <p:grpSp>
        <p:nvGrpSpPr>
          <p:cNvPr id="16" name="Group 15"/>
          <p:cNvGrpSpPr/>
          <p:nvPr/>
        </p:nvGrpSpPr>
        <p:grpSpPr>
          <a:xfrm>
            <a:off x="4352128" y="3752657"/>
            <a:ext cx="2768651" cy="2629608"/>
            <a:chOff x="6021058" y="3730335"/>
            <a:chExt cx="2714610" cy="2578281"/>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15" name="TextBox 14"/>
            <p:cNvSpPr txBox="1"/>
            <p:nvPr/>
          </p:nvSpPr>
          <p:spPr>
            <a:xfrm>
              <a:off x="6840022" y="3792149"/>
              <a:ext cx="1044197"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CPU</a:t>
              </a:r>
            </a:p>
          </p:txBody>
        </p:sp>
        <p:sp>
          <p:nvSpPr>
            <p:cNvPr id="382" name="TextBox 381"/>
            <p:cNvSpPr txBox="1"/>
            <p:nvPr/>
          </p:nvSpPr>
          <p:spPr>
            <a:xfrm>
              <a:off x="6021058" y="4670040"/>
              <a:ext cx="1057084"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read</a:t>
              </a:r>
            </a:p>
          </p:txBody>
        </p:sp>
        <p:sp>
          <p:nvSpPr>
            <p:cNvPr id="383" name="TextBox 382"/>
            <p:cNvSpPr txBox="1"/>
            <p:nvPr/>
          </p:nvSpPr>
          <p:spPr>
            <a:xfrm>
              <a:off x="7644985" y="4681764"/>
              <a:ext cx="1090683"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write</a:t>
              </a:r>
            </a:p>
          </p:txBody>
        </p:sp>
        <p:sp>
          <p:nvSpPr>
            <p:cNvPr id="384" name="TextBox 383"/>
            <p:cNvSpPr txBox="1"/>
            <p:nvPr/>
          </p:nvSpPr>
          <p:spPr>
            <a:xfrm>
              <a:off x="6638203" y="5758914"/>
              <a:ext cx="1454501" cy="549702"/>
            </a:xfrm>
            <a:prstGeom prst="rect">
              <a:avLst/>
            </a:prstGeom>
            <a:noFill/>
          </p:spPr>
          <p:txBody>
            <a:bodyPr wrap="none" lIns="186521" tIns="149217" rIns="186521" bIns="149217" rtlCol="0">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solidFill>
                    <a:schemeClr val="tx2">
                      <a:lumMod val="75000"/>
                    </a:schemeClr>
                  </a:solidFill>
                  <a:effectLst/>
                  <a:uLnTx/>
                  <a:uFillTx/>
                  <a:latin typeface="+mj-lt"/>
                </a:rPr>
                <a:t>% memory</a:t>
              </a:r>
            </a:p>
          </p:txBody>
        </p:sp>
      </p:grpSp>
      <p:grpSp>
        <p:nvGrpSpPr>
          <p:cNvPr id="17" name="Group 16"/>
          <p:cNvGrpSpPr/>
          <p:nvPr/>
        </p:nvGrpSpPr>
        <p:grpSpPr>
          <a:xfrm>
            <a:off x="6780818" y="5450378"/>
            <a:ext cx="1614440" cy="967925"/>
            <a:chOff x="8774460" y="3881194"/>
            <a:chExt cx="1258730" cy="734335"/>
          </a:xfrm>
        </p:grpSpPr>
        <p:sp>
          <p:nvSpPr>
            <p:cNvPr id="380" name="Freeform 12"/>
            <p:cNvSpPr>
              <a:spLocks/>
            </p:cNvSpPr>
            <p:nvPr/>
          </p:nvSpPr>
          <p:spPr bwMode="auto">
            <a:xfrm>
              <a:off x="8944032"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3260" tIns="46630" rIns="93260" bIns="46630" numCol="1" anchor="t" anchorCtr="0" compatLnSpc="1">
              <a:prstTxWarp prst="textNoShape">
                <a:avLst/>
              </a:prstTxWarp>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rgbClr val="000000"/>
                </a:solidFill>
                <a:effectLst/>
                <a:uLnTx/>
                <a:uFillTx/>
              </a:endParaRPr>
            </a:p>
          </p:txBody>
        </p:sp>
      </p:grpSp>
      <p:sp>
        <p:nvSpPr>
          <p:cNvPr id="390" name="Freeform 95"/>
          <p:cNvSpPr>
            <a:spLocks/>
          </p:cNvSpPr>
          <p:nvPr/>
        </p:nvSpPr>
        <p:spPr bwMode="auto">
          <a:xfrm flipH="1">
            <a:off x="111681" y="4749444"/>
            <a:ext cx="2789764" cy="181173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nvGrpSpPr>
          <p:cNvPr id="450" name="Group 449"/>
          <p:cNvGrpSpPr/>
          <p:nvPr/>
        </p:nvGrpSpPr>
        <p:grpSpPr>
          <a:xfrm>
            <a:off x="1559098" y="5452673"/>
            <a:ext cx="1065039" cy="1044952"/>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nvGrpSpPr>
          <p:cNvPr id="21" name="Group 20"/>
          <p:cNvGrpSpPr/>
          <p:nvPr/>
        </p:nvGrpSpPr>
        <p:grpSpPr>
          <a:xfrm>
            <a:off x="660389" y="5657856"/>
            <a:ext cx="821005" cy="841039"/>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nvGrpSpPr>
          <p:cNvPr id="456" name="Group 2"/>
          <p:cNvGrpSpPr/>
          <p:nvPr/>
        </p:nvGrpSpPr>
        <p:grpSpPr>
          <a:xfrm>
            <a:off x="-1203" y="6642734"/>
            <a:ext cx="12436795" cy="361047"/>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
        <p:nvSpPr>
          <p:cNvPr id="2" name="Rectangle 1"/>
          <p:cNvSpPr/>
          <p:nvPr/>
        </p:nvSpPr>
        <p:spPr>
          <a:xfrm>
            <a:off x="7447652" y="3762822"/>
            <a:ext cx="4703362" cy="163121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2"/>
                </a:solidFill>
                <a:effectLst/>
                <a:uLnTx/>
                <a:uFillTx/>
              </a:rPr>
              <a:t>SQL Data Warehouse introduces Data Warehouse Units (DWUs) as an abstraction of computational resources (CPUs, memory, storage I/O) aggregated across a number of nodes</a:t>
            </a:r>
          </a:p>
        </p:txBody>
      </p:sp>
    </p:spTree>
    <p:extLst>
      <p:ext uri="{BB962C8B-B14F-4D97-AF65-F5344CB8AC3E}">
        <p14:creationId xmlns:p14="http://schemas.microsoft.com/office/powerpoint/2010/main" val="1457270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auto">
          <a:xfrm>
            <a:off x="6675437" y="2049462"/>
            <a:ext cx="5562600" cy="4648200"/>
          </a:xfrm>
          <a:prstGeom prst="rect">
            <a:avLst/>
          </a:prstGeom>
          <a:solidFill>
            <a:srgbClr val="96969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0" name="Rectangle 29"/>
          <p:cNvSpPr/>
          <p:nvPr/>
        </p:nvSpPr>
        <p:spPr bwMode="auto">
          <a:xfrm>
            <a:off x="122237" y="2049462"/>
            <a:ext cx="6400800" cy="4648200"/>
          </a:xfrm>
          <a:prstGeom prst="rect">
            <a:avLst/>
          </a:prstGeom>
          <a:solidFill>
            <a:srgbClr val="96969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 name="Title 3"/>
          <p:cNvSpPr>
            <a:spLocks noGrp="1"/>
          </p:cNvSpPr>
          <p:nvPr>
            <p:ph type="title"/>
          </p:nvPr>
        </p:nvSpPr>
        <p:spPr/>
        <p:txBody>
          <a:bodyPr/>
          <a:lstStyle/>
          <a:p>
            <a:r>
              <a:rPr lang="en-US" dirty="0"/>
              <a:t>Where does SQL DW fit?</a:t>
            </a:r>
          </a:p>
        </p:txBody>
      </p:sp>
      <p:grpSp>
        <p:nvGrpSpPr>
          <p:cNvPr id="46" name="Group 45"/>
          <p:cNvGrpSpPr/>
          <p:nvPr/>
        </p:nvGrpSpPr>
        <p:grpSpPr>
          <a:xfrm>
            <a:off x="350837" y="2811462"/>
            <a:ext cx="2743201" cy="3478773"/>
            <a:chOff x="350837" y="2811462"/>
            <a:chExt cx="2743201" cy="3478773"/>
          </a:xfrm>
        </p:grpSpPr>
        <p:grpSp>
          <p:nvGrpSpPr>
            <p:cNvPr id="45" name="Group 44"/>
            <p:cNvGrpSpPr/>
            <p:nvPr/>
          </p:nvGrpSpPr>
          <p:grpSpPr>
            <a:xfrm>
              <a:off x="350837" y="2811462"/>
              <a:ext cx="2743201" cy="3478773"/>
              <a:chOff x="350837" y="2811462"/>
              <a:chExt cx="2743201" cy="3478773"/>
            </a:xfrm>
            <a:effectLst>
              <a:outerShdw blurRad="50800" dist="38100" dir="2700000" algn="tl" rotWithShape="0">
                <a:prstClr val="black">
                  <a:alpha val="40000"/>
                </a:prstClr>
              </a:outerShdw>
            </a:effectLst>
          </p:grpSpPr>
          <p:sp>
            <p:nvSpPr>
              <p:cNvPr id="19" name="Rectangle 18"/>
              <p:cNvSpPr/>
              <p:nvPr/>
            </p:nvSpPr>
            <p:spPr bwMode="auto">
              <a:xfrm>
                <a:off x="350837" y="2815515"/>
                <a:ext cx="2743200" cy="347472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p:cNvSpPr/>
              <p:nvPr/>
            </p:nvSpPr>
            <p:spPr bwMode="auto">
              <a:xfrm>
                <a:off x="350838" y="2811462"/>
                <a:ext cx="2743200" cy="110766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VM</a:t>
                </a:r>
              </a:p>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0" lang="en-US" sz="204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as</a:t>
                </a: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endPar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 name="TextBox 20"/>
            <p:cNvSpPr txBox="1"/>
            <p:nvPr/>
          </p:nvSpPr>
          <p:spPr>
            <a:xfrm>
              <a:off x="350838" y="3956988"/>
              <a:ext cx="2733559" cy="2188083"/>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OLTP / DW workloads</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Lift and Shift</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Customer managed</a:t>
              </a:r>
            </a:p>
            <a:p>
              <a:pPr marL="0" marR="0" lvl="0" indent="0" defTabSz="914400" eaLnBrk="1" fontAlgn="auto" latinLnBrk="0" hangingPunct="1">
                <a:lnSpc>
                  <a:spcPct val="90000"/>
                </a:lnSpc>
                <a:spcBef>
                  <a:spcPts val="0"/>
                </a:spcBef>
                <a:spcAft>
                  <a:spcPts val="1224"/>
                </a:spcAft>
                <a:buClrTx/>
                <a:buSzTx/>
                <a:buFontTx/>
                <a:buNone/>
                <a:tabLst/>
                <a:defRPr/>
              </a:pPr>
              <a:endParaRPr kumimoji="0" lang="en-US" sz="1836" b="0" i="0" u="none" strike="noStrike" kern="0" cap="none" spc="0" normalizeH="0" baseline="0" noProof="0" dirty="0">
                <a:ln>
                  <a:noFill/>
                </a:ln>
                <a:solidFill>
                  <a:srgbClr val="505050">
                    <a:lumMod val="50000"/>
                  </a:srgbClr>
                </a:solidFill>
                <a:effectLst/>
                <a:uLnTx/>
                <a:uFillTx/>
              </a:endParaRP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1-1TB+</a:t>
              </a:r>
            </a:p>
          </p:txBody>
        </p:sp>
      </p:grpSp>
      <p:grpSp>
        <p:nvGrpSpPr>
          <p:cNvPr id="48" name="Group 47"/>
          <p:cNvGrpSpPr/>
          <p:nvPr/>
        </p:nvGrpSpPr>
        <p:grpSpPr>
          <a:xfrm>
            <a:off x="3551237" y="2811462"/>
            <a:ext cx="2743201" cy="3478773"/>
            <a:chOff x="3551237" y="2811462"/>
            <a:chExt cx="2743201" cy="3478773"/>
          </a:xfrm>
        </p:grpSpPr>
        <p:grpSp>
          <p:nvGrpSpPr>
            <p:cNvPr id="47" name="Group 46"/>
            <p:cNvGrpSpPr/>
            <p:nvPr/>
          </p:nvGrpSpPr>
          <p:grpSpPr>
            <a:xfrm>
              <a:off x="3551237" y="2811462"/>
              <a:ext cx="2743201" cy="3478773"/>
              <a:chOff x="3551237" y="2811462"/>
              <a:chExt cx="2743201" cy="3478773"/>
            </a:xfrm>
            <a:effectLst>
              <a:outerShdw blurRad="50800" dist="38100" dir="2700000" algn="tl" rotWithShape="0">
                <a:prstClr val="black">
                  <a:alpha val="40000"/>
                </a:prstClr>
              </a:outerShdw>
            </a:effectLst>
          </p:grpSpPr>
          <p:sp>
            <p:nvSpPr>
              <p:cNvPr id="23" name="Rectangle 22"/>
              <p:cNvSpPr/>
              <p:nvPr/>
            </p:nvSpPr>
            <p:spPr bwMode="auto">
              <a:xfrm>
                <a:off x="3551237" y="2815515"/>
                <a:ext cx="2743200" cy="347472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p:cNvSpPr/>
              <p:nvPr/>
            </p:nvSpPr>
            <p:spPr bwMode="auto">
              <a:xfrm>
                <a:off x="3551238" y="2811462"/>
                <a:ext cx="2743200" cy="110766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QL Database</a:t>
                </a:r>
                <a:endPar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TextBox 24"/>
            <p:cNvSpPr txBox="1"/>
            <p:nvPr/>
          </p:nvSpPr>
          <p:spPr>
            <a:xfrm>
              <a:off x="3551238" y="3956988"/>
              <a:ext cx="2733559" cy="2188083"/>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OLTP/ DW workloads</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Net new development</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Fully managed service</a:t>
              </a:r>
            </a:p>
            <a:p>
              <a:pPr marL="0" marR="0" lvl="0" indent="0" defTabSz="914400" eaLnBrk="1" fontAlgn="auto" latinLnBrk="0" hangingPunct="1">
                <a:lnSpc>
                  <a:spcPct val="90000"/>
                </a:lnSpc>
                <a:spcBef>
                  <a:spcPts val="0"/>
                </a:spcBef>
                <a:spcAft>
                  <a:spcPts val="1224"/>
                </a:spcAft>
                <a:buClrTx/>
                <a:buSzTx/>
                <a:buFontTx/>
                <a:buNone/>
                <a:tabLst/>
                <a:defRPr/>
              </a:pPr>
              <a:endParaRPr kumimoji="0" lang="en-US" sz="1836" b="0" i="0" u="none" strike="noStrike" kern="0" cap="none" spc="0" normalizeH="0" baseline="0" noProof="0" dirty="0">
                <a:ln>
                  <a:noFill/>
                </a:ln>
                <a:solidFill>
                  <a:srgbClr val="505050">
                    <a:lumMod val="50000"/>
                  </a:srgbClr>
                </a:solidFill>
                <a:effectLst/>
                <a:uLnTx/>
                <a:uFillTx/>
              </a:endParaRP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1-500 GB</a:t>
              </a:r>
            </a:p>
          </p:txBody>
        </p:sp>
      </p:grpSp>
      <p:grpSp>
        <p:nvGrpSpPr>
          <p:cNvPr id="50" name="Group 49"/>
          <p:cNvGrpSpPr/>
          <p:nvPr/>
        </p:nvGrpSpPr>
        <p:grpSpPr>
          <a:xfrm>
            <a:off x="6827837" y="2813488"/>
            <a:ext cx="5257800" cy="3478773"/>
            <a:chOff x="6827837" y="2813488"/>
            <a:chExt cx="5257800" cy="3478773"/>
          </a:xfrm>
        </p:grpSpPr>
        <p:grpSp>
          <p:nvGrpSpPr>
            <p:cNvPr id="49" name="Group 48"/>
            <p:cNvGrpSpPr/>
            <p:nvPr/>
          </p:nvGrpSpPr>
          <p:grpSpPr>
            <a:xfrm>
              <a:off x="6827837" y="2813488"/>
              <a:ext cx="5257800" cy="3478773"/>
              <a:chOff x="6827837" y="2813488"/>
              <a:chExt cx="5257800" cy="3478773"/>
            </a:xfrm>
            <a:effectLst>
              <a:outerShdw blurRad="50800" dist="38100" dir="2700000" algn="tl" rotWithShape="0">
                <a:prstClr val="black">
                  <a:alpha val="40000"/>
                </a:prstClr>
              </a:outerShdw>
            </a:effectLst>
          </p:grpSpPr>
          <p:sp>
            <p:nvSpPr>
              <p:cNvPr id="27" name="Rectangle 26"/>
              <p:cNvSpPr/>
              <p:nvPr/>
            </p:nvSpPr>
            <p:spPr bwMode="auto">
              <a:xfrm>
                <a:off x="6827837" y="2817541"/>
                <a:ext cx="5257798" cy="3474720"/>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p:cNvSpPr/>
              <p:nvPr/>
            </p:nvSpPr>
            <p:spPr bwMode="auto">
              <a:xfrm>
                <a:off x="6827839" y="2813488"/>
                <a:ext cx="5257798" cy="1107664"/>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QL</a:t>
                </a:r>
                <a:b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 Warehouse</a:t>
                </a:r>
                <a:endParaRPr kumimoji="0" lang="en-US" sz="18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 name="TextBox 28"/>
            <p:cNvSpPr txBox="1"/>
            <p:nvPr/>
          </p:nvSpPr>
          <p:spPr>
            <a:xfrm>
              <a:off x="6827839" y="3959014"/>
              <a:ext cx="5239320" cy="2188083"/>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DW workloads only</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Fully managed</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Dynamic compute scaling and pause</a:t>
              </a:r>
            </a:p>
            <a:p>
              <a:pPr marL="0" marR="0" lvl="0" indent="0" defTabSz="914400" eaLnBrk="1" fontAlgn="auto" latinLnBrk="0" hangingPunct="1">
                <a:lnSpc>
                  <a:spcPct val="90000"/>
                </a:lnSpc>
                <a:spcBef>
                  <a:spcPts val="0"/>
                </a:spcBef>
                <a:spcAft>
                  <a:spcPts val="1224"/>
                </a:spcAft>
                <a:buClrTx/>
                <a:buSzTx/>
                <a:buFontTx/>
                <a:buNone/>
                <a:tabLst/>
                <a:defRPr/>
              </a:pPr>
              <a:endParaRPr kumimoji="0" lang="en-US" sz="1836" b="0" i="0" u="none" strike="noStrike" kern="0" cap="none" spc="0" normalizeH="0" baseline="0" noProof="0" dirty="0">
                <a:ln>
                  <a:noFill/>
                </a:ln>
                <a:solidFill>
                  <a:srgbClr val="505050">
                    <a:lumMod val="50000"/>
                  </a:srgbClr>
                </a:solidFill>
                <a:effectLst/>
                <a:uLnTx/>
                <a:uFillTx/>
              </a:endParaRP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solidFill>
                    <a:srgbClr val="505050">
                      <a:lumMod val="50000"/>
                    </a:srgbClr>
                  </a:solidFill>
                  <a:effectLst/>
                  <a:uLnTx/>
                  <a:uFillTx/>
                </a:rPr>
                <a:t>250GB – PB+</a:t>
              </a:r>
            </a:p>
          </p:txBody>
        </p:sp>
      </p:grpSp>
      <p:sp>
        <p:nvSpPr>
          <p:cNvPr id="51" name="TextBox 50"/>
          <p:cNvSpPr txBox="1"/>
          <p:nvPr/>
        </p:nvSpPr>
        <p:spPr>
          <a:xfrm>
            <a:off x="122237" y="2079224"/>
            <a:ext cx="2561727"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existing services</a:t>
            </a:r>
          </a:p>
        </p:txBody>
      </p:sp>
    </p:spTree>
    <p:extLst>
      <p:ext uri="{BB962C8B-B14F-4D97-AF65-F5344CB8AC3E}">
        <p14:creationId xmlns:p14="http://schemas.microsoft.com/office/powerpoint/2010/main" val="372762015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Data Factory</a:t>
            </a:r>
          </a:p>
        </p:txBody>
      </p:sp>
      <p:sp>
        <p:nvSpPr>
          <p:cNvPr id="5" name="Rectangle 4"/>
          <p:cNvSpPr/>
          <p:nvPr/>
        </p:nvSpPr>
        <p:spPr>
          <a:xfrm>
            <a:off x="274639" y="1212849"/>
            <a:ext cx="9798049" cy="461665"/>
          </a:xfrm>
          <a:prstGeom prst="rect">
            <a:avLst/>
          </a:prstGeom>
        </p:spPr>
        <p:txBody>
          <a:bodyPr wrap="square">
            <a:spAutoFit/>
          </a:bodyPr>
          <a:lstStyle/>
          <a:p>
            <a:r>
              <a:rPr lang="en-US" sz="2400" dirty="0">
                <a:gradFill>
                  <a:gsLst>
                    <a:gs pos="0">
                      <a:srgbClr val="FFFFFF"/>
                    </a:gs>
                    <a:gs pos="100000">
                      <a:srgbClr val="FFFFFF"/>
                    </a:gs>
                  </a:gsLst>
                  <a:lin ang="5400000" scaled="0"/>
                </a:gradFill>
              </a:rPr>
              <a:t>A managed cloud service for building and operating data pipelines</a:t>
            </a:r>
          </a:p>
        </p:txBody>
      </p:sp>
      <p:pic>
        <p:nvPicPr>
          <p:cNvPr id="6" name="Picture 5"/>
          <p:cNvPicPr>
            <a:picLocks noChangeAspect="1"/>
          </p:cNvPicPr>
          <p:nvPr/>
        </p:nvPicPr>
        <p:blipFill>
          <a:blip r:embed="rId2"/>
          <a:stretch>
            <a:fillRect/>
          </a:stretch>
        </p:blipFill>
        <p:spPr>
          <a:xfrm>
            <a:off x="243622" y="2239962"/>
            <a:ext cx="11951597" cy="2982120"/>
          </a:xfrm>
          <a:prstGeom prst="rect">
            <a:avLst/>
          </a:prstGeom>
        </p:spPr>
      </p:pic>
    </p:spTree>
    <p:extLst>
      <p:ext uri="{BB962C8B-B14F-4D97-AF65-F5344CB8AC3E}">
        <p14:creationId xmlns:p14="http://schemas.microsoft.com/office/powerpoint/2010/main" val="2616894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lerating the speed of business</a:t>
            </a:r>
          </a:p>
        </p:txBody>
      </p:sp>
      <p:sp>
        <p:nvSpPr>
          <p:cNvPr id="6" name="TextBox 5"/>
          <p:cNvSpPr txBox="1"/>
          <p:nvPr/>
        </p:nvSpPr>
        <p:spPr>
          <a:xfrm>
            <a:off x="2158611" y="4995980"/>
            <a:ext cx="2698957" cy="664755"/>
          </a:xfrm>
          <a:prstGeom prst="rect">
            <a:avLst/>
          </a:prstGeom>
        </p:spPr>
        <p:txBody>
          <a:bodyPr wrap="square" lIns="182854" tIns="146283" rIns="182854" bIns="146283" rtlCol="0">
            <a:spAutoFit/>
          </a:bodyPr>
          <a:lstStyle/>
          <a:p>
            <a:pPr algn="ctr"/>
            <a:r>
              <a:rPr lang="en-US" sz="2400" dirty="0">
                <a:latin typeface="+mj-lt"/>
              </a:rPr>
              <a:t>Machine Learning</a:t>
            </a:r>
          </a:p>
        </p:txBody>
      </p:sp>
      <p:sp>
        <p:nvSpPr>
          <p:cNvPr id="7" name="TextBox 6"/>
          <p:cNvSpPr txBox="1"/>
          <p:nvPr/>
        </p:nvSpPr>
        <p:spPr>
          <a:xfrm>
            <a:off x="8283734" y="3356652"/>
            <a:ext cx="1271831" cy="664755"/>
          </a:xfrm>
          <a:prstGeom prst="rect">
            <a:avLst/>
          </a:prstGeom>
        </p:spPr>
        <p:txBody>
          <a:bodyPr wrap="square" lIns="182854" tIns="146283" rIns="182854" bIns="146283" rtlCol="0">
            <a:spAutoFit/>
          </a:bodyPr>
          <a:lstStyle/>
          <a:p>
            <a:pPr algn="ctr"/>
            <a:r>
              <a:rPr lang="en-US" sz="2400" dirty="0">
                <a:latin typeface="+mj-lt"/>
              </a:rPr>
              <a:t>Cloud</a:t>
            </a:r>
          </a:p>
        </p:txBody>
      </p:sp>
      <p:sp>
        <p:nvSpPr>
          <p:cNvPr id="8" name="TextBox 7"/>
          <p:cNvSpPr txBox="1"/>
          <p:nvPr/>
        </p:nvSpPr>
        <p:spPr>
          <a:xfrm>
            <a:off x="2858811" y="2254119"/>
            <a:ext cx="2000489" cy="664755"/>
          </a:xfrm>
          <a:prstGeom prst="rect">
            <a:avLst/>
          </a:prstGeom>
        </p:spPr>
        <p:txBody>
          <a:bodyPr wrap="square" lIns="182854" tIns="146283" rIns="182854" bIns="146283" rtlCol="0">
            <a:spAutoFit/>
          </a:bodyPr>
          <a:lstStyle/>
          <a:p>
            <a:pPr algn="ctr"/>
            <a:r>
              <a:rPr lang="en-US" sz="2400" dirty="0">
                <a:latin typeface="+mj-lt"/>
              </a:rPr>
              <a:t>Big Data</a:t>
            </a:r>
          </a:p>
        </p:txBody>
      </p:sp>
      <p:sp>
        <p:nvSpPr>
          <p:cNvPr id="10" name="Oval 9"/>
          <p:cNvSpPr/>
          <p:nvPr/>
        </p:nvSpPr>
        <p:spPr bwMode="auto">
          <a:xfrm>
            <a:off x="4488852" y="2125351"/>
            <a:ext cx="3485993" cy="3485993"/>
          </a:xfrm>
          <a:prstGeom prst="ellipse">
            <a:avLst/>
          </a:prstGeom>
          <a:noFill/>
          <a:ln w="38100" cap="flat" cmpd="sng" algn="ctr">
            <a:solidFill>
              <a:schemeClr val="tx1"/>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7" name="Group 56"/>
          <p:cNvGrpSpPr/>
          <p:nvPr/>
        </p:nvGrpSpPr>
        <p:grpSpPr>
          <a:xfrm>
            <a:off x="11511536" y="-1819"/>
            <a:ext cx="1142398" cy="1865207"/>
            <a:chOff x="8609012" y="5013325"/>
            <a:chExt cx="1119649" cy="1828800"/>
          </a:xfrm>
        </p:grpSpPr>
        <p:grpSp>
          <p:nvGrpSpPr>
            <p:cNvPr id="58" name="Group 237"/>
            <p:cNvGrpSpPr/>
            <p:nvPr/>
          </p:nvGrpSpPr>
          <p:grpSpPr bwMode="auto">
            <a:xfrm>
              <a:off x="8609012" y="5013325"/>
              <a:ext cx="893763" cy="1828800"/>
              <a:chOff x="5907088" y="4368800"/>
              <a:chExt cx="893763" cy="1682750"/>
            </a:xfrm>
          </p:grpSpPr>
          <p:sp>
            <p:nvSpPr>
              <p:cNvPr id="60" name="Rectangle 196"/>
              <p:cNvSpPr>
                <a:spLocks noChangeArrowheads="1"/>
              </p:cNvSpPr>
              <p:nvPr/>
            </p:nvSpPr>
            <p:spPr bwMode="auto">
              <a:xfrm>
                <a:off x="5907088" y="4368800"/>
                <a:ext cx="893763" cy="1682750"/>
              </a:xfrm>
              <a:prstGeom prst="rect">
                <a:avLst/>
              </a:prstGeom>
              <a:solidFill>
                <a:srgbClr val="231F20">
                  <a:alpha val="0"/>
                </a:srgbClr>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97"/>
              <p:cNvSpPr>
                <a:spLocks noEditPoints="1"/>
              </p:cNvSpPr>
              <p:nvPr/>
            </p:nvSpPr>
            <p:spPr bwMode="auto">
              <a:xfrm>
                <a:off x="6462713" y="4718050"/>
                <a:ext cx="239713" cy="119063"/>
              </a:xfrm>
              <a:custGeom>
                <a:avLst/>
                <a:gdLst/>
                <a:ahLst/>
                <a:cxnLst>
                  <a:cxn ang="0">
                    <a:pos x="35" y="9"/>
                  </a:cxn>
                  <a:cxn ang="0">
                    <a:pos x="0" y="9"/>
                  </a:cxn>
                  <a:cxn ang="0">
                    <a:pos x="0" y="0"/>
                  </a:cxn>
                  <a:cxn ang="0">
                    <a:pos x="93" y="0"/>
                  </a:cxn>
                  <a:cxn ang="0">
                    <a:pos x="93" y="21"/>
                  </a:cxn>
                  <a:cxn ang="0">
                    <a:pos x="86" y="39"/>
                  </a:cxn>
                  <a:cxn ang="0">
                    <a:pos x="65" y="46"/>
                  </a:cxn>
                  <a:cxn ang="0">
                    <a:pos x="44" y="39"/>
                  </a:cxn>
                  <a:cxn ang="0">
                    <a:pos x="35" y="19"/>
                  </a:cxn>
                  <a:cxn ang="0">
                    <a:pos x="35" y="9"/>
                  </a:cxn>
                  <a:cxn ang="0">
                    <a:pos x="84" y="9"/>
                  </a:cxn>
                  <a:cxn ang="0">
                    <a:pos x="44" y="9"/>
                  </a:cxn>
                  <a:cxn ang="0">
                    <a:pos x="44" y="18"/>
                  </a:cxn>
                  <a:cxn ang="0">
                    <a:pos x="49" y="31"/>
                  </a:cxn>
                  <a:cxn ang="0">
                    <a:pos x="64" y="36"/>
                  </a:cxn>
                  <a:cxn ang="0">
                    <a:pos x="84" y="19"/>
                  </a:cxn>
                  <a:cxn ang="0">
                    <a:pos x="84" y="9"/>
                  </a:cxn>
                </a:cxnLst>
                <a:rect l="0" t="0" r="r" b="b"/>
                <a:pathLst>
                  <a:path w="93" h="46">
                    <a:moveTo>
                      <a:pt x="35" y="9"/>
                    </a:moveTo>
                    <a:cubicBezTo>
                      <a:pt x="0" y="9"/>
                      <a:pt x="0" y="9"/>
                      <a:pt x="0" y="9"/>
                    </a:cubicBezTo>
                    <a:cubicBezTo>
                      <a:pt x="0" y="0"/>
                      <a:pt x="0" y="0"/>
                      <a:pt x="0" y="0"/>
                    </a:cubicBezTo>
                    <a:cubicBezTo>
                      <a:pt x="93" y="0"/>
                      <a:pt x="93" y="0"/>
                      <a:pt x="93" y="0"/>
                    </a:cubicBezTo>
                    <a:cubicBezTo>
                      <a:pt x="93" y="21"/>
                      <a:pt x="93" y="21"/>
                      <a:pt x="93" y="21"/>
                    </a:cubicBezTo>
                    <a:cubicBezTo>
                      <a:pt x="93" y="29"/>
                      <a:pt x="90" y="35"/>
                      <a:pt x="86" y="39"/>
                    </a:cubicBezTo>
                    <a:cubicBezTo>
                      <a:pt x="81" y="44"/>
                      <a:pt x="74" y="46"/>
                      <a:pt x="65" y="46"/>
                    </a:cubicBezTo>
                    <a:cubicBezTo>
                      <a:pt x="57" y="46"/>
                      <a:pt x="49" y="44"/>
                      <a:pt x="44" y="39"/>
                    </a:cubicBezTo>
                    <a:cubicBezTo>
                      <a:pt x="38" y="34"/>
                      <a:pt x="35" y="27"/>
                      <a:pt x="35" y="19"/>
                    </a:cubicBezTo>
                    <a:lnTo>
                      <a:pt x="35" y="9"/>
                    </a:lnTo>
                    <a:close/>
                    <a:moveTo>
                      <a:pt x="84" y="9"/>
                    </a:moveTo>
                    <a:cubicBezTo>
                      <a:pt x="44" y="9"/>
                      <a:pt x="44" y="9"/>
                      <a:pt x="44" y="9"/>
                    </a:cubicBezTo>
                    <a:cubicBezTo>
                      <a:pt x="44" y="18"/>
                      <a:pt x="44" y="18"/>
                      <a:pt x="44" y="18"/>
                    </a:cubicBezTo>
                    <a:cubicBezTo>
                      <a:pt x="44" y="24"/>
                      <a:pt x="46" y="28"/>
                      <a:pt x="49" y="31"/>
                    </a:cubicBezTo>
                    <a:cubicBezTo>
                      <a:pt x="53" y="34"/>
                      <a:pt x="58" y="36"/>
                      <a:pt x="64" y="36"/>
                    </a:cubicBezTo>
                    <a:cubicBezTo>
                      <a:pt x="77" y="36"/>
                      <a:pt x="84" y="30"/>
                      <a:pt x="84" y="19"/>
                    </a:cubicBezTo>
                    <a:lnTo>
                      <a:pt x="84" y="9"/>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98"/>
              <p:cNvSpPr>
                <a:spLocks noEditPoints="1"/>
              </p:cNvSpPr>
              <p:nvPr/>
            </p:nvSpPr>
            <p:spPr bwMode="auto">
              <a:xfrm>
                <a:off x="6462713" y="4872038"/>
                <a:ext cx="239713" cy="119063"/>
              </a:xfrm>
              <a:custGeom>
                <a:avLst/>
                <a:gdLst/>
                <a:ahLst/>
                <a:cxnLst>
                  <a:cxn ang="0">
                    <a:pos x="35" y="10"/>
                  </a:cxn>
                  <a:cxn ang="0">
                    <a:pos x="0" y="10"/>
                  </a:cxn>
                  <a:cxn ang="0">
                    <a:pos x="0" y="0"/>
                  </a:cxn>
                  <a:cxn ang="0">
                    <a:pos x="93" y="0"/>
                  </a:cxn>
                  <a:cxn ang="0">
                    <a:pos x="93" y="21"/>
                  </a:cxn>
                  <a:cxn ang="0">
                    <a:pos x="86" y="40"/>
                  </a:cxn>
                  <a:cxn ang="0">
                    <a:pos x="65" y="46"/>
                  </a:cxn>
                  <a:cxn ang="0">
                    <a:pos x="44" y="39"/>
                  </a:cxn>
                  <a:cxn ang="0">
                    <a:pos x="35" y="19"/>
                  </a:cxn>
                  <a:cxn ang="0">
                    <a:pos x="35" y="10"/>
                  </a:cxn>
                  <a:cxn ang="0">
                    <a:pos x="84" y="10"/>
                  </a:cxn>
                  <a:cxn ang="0">
                    <a:pos x="44" y="10"/>
                  </a:cxn>
                  <a:cxn ang="0">
                    <a:pos x="44" y="19"/>
                  </a:cxn>
                  <a:cxn ang="0">
                    <a:pos x="49" y="32"/>
                  </a:cxn>
                  <a:cxn ang="0">
                    <a:pos x="64" y="36"/>
                  </a:cxn>
                  <a:cxn ang="0">
                    <a:pos x="84" y="20"/>
                  </a:cxn>
                  <a:cxn ang="0">
                    <a:pos x="84" y="10"/>
                  </a:cxn>
                </a:cxnLst>
                <a:rect l="0" t="0" r="r" b="b"/>
                <a:pathLst>
                  <a:path w="93" h="46">
                    <a:moveTo>
                      <a:pt x="35" y="10"/>
                    </a:moveTo>
                    <a:cubicBezTo>
                      <a:pt x="0" y="10"/>
                      <a:pt x="0" y="10"/>
                      <a:pt x="0" y="10"/>
                    </a:cubicBezTo>
                    <a:cubicBezTo>
                      <a:pt x="0" y="0"/>
                      <a:pt x="0" y="0"/>
                      <a:pt x="0" y="0"/>
                    </a:cubicBezTo>
                    <a:cubicBezTo>
                      <a:pt x="93" y="0"/>
                      <a:pt x="93" y="0"/>
                      <a:pt x="93" y="0"/>
                    </a:cubicBezTo>
                    <a:cubicBezTo>
                      <a:pt x="93" y="21"/>
                      <a:pt x="93" y="21"/>
                      <a:pt x="93" y="21"/>
                    </a:cubicBezTo>
                    <a:cubicBezTo>
                      <a:pt x="93" y="29"/>
                      <a:pt x="90" y="36"/>
                      <a:pt x="86" y="40"/>
                    </a:cubicBezTo>
                    <a:cubicBezTo>
                      <a:pt x="81" y="44"/>
                      <a:pt x="74" y="46"/>
                      <a:pt x="65" y="46"/>
                    </a:cubicBezTo>
                    <a:cubicBezTo>
                      <a:pt x="57" y="46"/>
                      <a:pt x="49" y="44"/>
                      <a:pt x="44" y="39"/>
                    </a:cubicBezTo>
                    <a:cubicBezTo>
                      <a:pt x="38" y="34"/>
                      <a:pt x="35" y="28"/>
                      <a:pt x="35" y="19"/>
                    </a:cubicBezTo>
                    <a:lnTo>
                      <a:pt x="35" y="10"/>
                    </a:lnTo>
                    <a:close/>
                    <a:moveTo>
                      <a:pt x="84" y="10"/>
                    </a:moveTo>
                    <a:cubicBezTo>
                      <a:pt x="44" y="10"/>
                      <a:pt x="44" y="10"/>
                      <a:pt x="44" y="10"/>
                    </a:cubicBezTo>
                    <a:cubicBezTo>
                      <a:pt x="44" y="19"/>
                      <a:pt x="44" y="19"/>
                      <a:pt x="44" y="19"/>
                    </a:cubicBezTo>
                    <a:cubicBezTo>
                      <a:pt x="44" y="24"/>
                      <a:pt x="46" y="29"/>
                      <a:pt x="49" y="32"/>
                    </a:cubicBezTo>
                    <a:cubicBezTo>
                      <a:pt x="53" y="35"/>
                      <a:pt x="58" y="36"/>
                      <a:pt x="64" y="36"/>
                    </a:cubicBezTo>
                    <a:cubicBezTo>
                      <a:pt x="77" y="36"/>
                      <a:pt x="84" y="31"/>
                      <a:pt x="84" y="20"/>
                    </a:cubicBezTo>
                    <a:lnTo>
                      <a:pt x="84" y="1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199"/>
              <p:cNvSpPr>
                <a:spLocks/>
              </p:cNvSpPr>
              <p:nvPr/>
            </p:nvSpPr>
            <p:spPr bwMode="auto">
              <a:xfrm>
                <a:off x="6462713" y="5010150"/>
                <a:ext cx="239713" cy="131763"/>
              </a:xfrm>
              <a:custGeom>
                <a:avLst/>
                <a:gdLst/>
                <a:ahLst/>
                <a:cxnLst>
                  <a:cxn ang="0">
                    <a:pos x="136" y="49"/>
                  </a:cxn>
                  <a:cxn ang="0">
                    <a:pos x="0" y="49"/>
                  </a:cxn>
                  <a:cxn ang="0">
                    <a:pos x="0" y="32"/>
                  </a:cxn>
                  <a:cxn ang="0">
                    <a:pos x="136" y="32"/>
                  </a:cxn>
                  <a:cxn ang="0">
                    <a:pos x="136" y="0"/>
                  </a:cxn>
                  <a:cxn ang="0">
                    <a:pos x="151" y="0"/>
                  </a:cxn>
                  <a:cxn ang="0">
                    <a:pos x="151" y="83"/>
                  </a:cxn>
                  <a:cxn ang="0">
                    <a:pos x="136" y="83"/>
                  </a:cxn>
                  <a:cxn ang="0">
                    <a:pos x="136" y="49"/>
                  </a:cxn>
                </a:cxnLst>
                <a:rect l="0" t="0" r="r" b="b"/>
                <a:pathLst>
                  <a:path w="151" h="83">
                    <a:moveTo>
                      <a:pt x="136" y="49"/>
                    </a:moveTo>
                    <a:lnTo>
                      <a:pt x="0" y="49"/>
                    </a:lnTo>
                    <a:lnTo>
                      <a:pt x="0" y="32"/>
                    </a:lnTo>
                    <a:lnTo>
                      <a:pt x="136" y="32"/>
                    </a:lnTo>
                    <a:lnTo>
                      <a:pt x="136" y="0"/>
                    </a:lnTo>
                    <a:lnTo>
                      <a:pt x="151" y="0"/>
                    </a:lnTo>
                    <a:lnTo>
                      <a:pt x="151" y="83"/>
                    </a:lnTo>
                    <a:lnTo>
                      <a:pt x="136" y="83"/>
                    </a:lnTo>
                    <a:lnTo>
                      <a:pt x="136" y="49"/>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200"/>
              <p:cNvSpPr>
                <a:spLocks noEditPoints="1"/>
              </p:cNvSpPr>
              <p:nvPr/>
            </p:nvSpPr>
            <p:spPr bwMode="auto">
              <a:xfrm>
                <a:off x="6462713" y="5246688"/>
                <a:ext cx="239713" cy="127000"/>
              </a:xfrm>
              <a:custGeom>
                <a:avLst/>
                <a:gdLst/>
                <a:ahLst/>
                <a:cxnLst>
                  <a:cxn ang="0">
                    <a:pos x="0" y="38"/>
                  </a:cxn>
                  <a:cxn ang="0">
                    <a:pos x="26" y="29"/>
                  </a:cxn>
                  <a:cxn ang="0">
                    <a:pos x="37" y="23"/>
                  </a:cxn>
                  <a:cxn ang="0">
                    <a:pos x="40" y="17"/>
                  </a:cxn>
                  <a:cxn ang="0">
                    <a:pos x="40" y="10"/>
                  </a:cxn>
                  <a:cxn ang="0">
                    <a:pos x="0" y="10"/>
                  </a:cxn>
                  <a:cxn ang="0">
                    <a:pos x="0" y="0"/>
                  </a:cxn>
                  <a:cxn ang="0">
                    <a:pos x="93" y="0"/>
                  </a:cxn>
                  <a:cxn ang="0">
                    <a:pos x="93" y="22"/>
                  </a:cxn>
                  <a:cxn ang="0">
                    <a:pos x="86" y="40"/>
                  </a:cxn>
                  <a:cxn ang="0">
                    <a:pos x="68" y="46"/>
                  </a:cxn>
                  <a:cxn ang="0">
                    <a:pos x="43" y="29"/>
                  </a:cxn>
                  <a:cxn ang="0">
                    <a:pos x="43" y="29"/>
                  </a:cxn>
                  <a:cxn ang="0">
                    <a:pos x="29" y="39"/>
                  </a:cxn>
                  <a:cxn ang="0">
                    <a:pos x="0" y="49"/>
                  </a:cxn>
                  <a:cxn ang="0">
                    <a:pos x="0" y="38"/>
                  </a:cxn>
                  <a:cxn ang="0">
                    <a:pos x="84" y="10"/>
                  </a:cxn>
                  <a:cxn ang="0">
                    <a:pos x="48" y="10"/>
                  </a:cxn>
                  <a:cxn ang="0">
                    <a:pos x="48" y="20"/>
                  </a:cxn>
                  <a:cxn ang="0">
                    <a:pos x="53" y="31"/>
                  </a:cxn>
                  <a:cxn ang="0">
                    <a:pos x="67" y="36"/>
                  </a:cxn>
                  <a:cxn ang="0">
                    <a:pos x="80" y="32"/>
                  </a:cxn>
                  <a:cxn ang="0">
                    <a:pos x="84" y="20"/>
                  </a:cxn>
                  <a:cxn ang="0">
                    <a:pos x="84" y="10"/>
                  </a:cxn>
                </a:cxnLst>
                <a:rect l="0" t="0" r="r" b="b"/>
                <a:pathLst>
                  <a:path w="93" h="49">
                    <a:moveTo>
                      <a:pt x="0" y="38"/>
                    </a:moveTo>
                    <a:cubicBezTo>
                      <a:pt x="26" y="29"/>
                      <a:pt x="26" y="29"/>
                      <a:pt x="26" y="29"/>
                    </a:cubicBezTo>
                    <a:cubicBezTo>
                      <a:pt x="31" y="27"/>
                      <a:pt x="35" y="25"/>
                      <a:pt x="37" y="23"/>
                    </a:cubicBezTo>
                    <a:cubicBezTo>
                      <a:pt x="39" y="21"/>
                      <a:pt x="40" y="19"/>
                      <a:pt x="40" y="17"/>
                    </a:cubicBezTo>
                    <a:cubicBezTo>
                      <a:pt x="40" y="10"/>
                      <a:pt x="40" y="10"/>
                      <a:pt x="40" y="10"/>
                    </a:cubicBezTo>
                    <a:cubicBezTo>
                      <a:pt x="0" y="10"/>
                      <a:pt x="0" y="10"/>
                      <a:pt x="0" y="10"/>
                    </a:cubicBezTo>
                    <a:cubicBezTo>
                      <a:pt x="0" y="0"/>
                      <a:pt x="0" y="0"/>
                      <a:pt x="0" y="0"/>
                    </a:cubicBezTo>
                    <a:cubicBezTo>
                      <a:pt x="93" y="0"/>
                      <a:pt x="93" y="0"/>
                      <a:pt x="93" y="0"/>
                    </a:cubicBezTo>
                    <a:cubicBezTo>
                      <a:pt x="93" y="22"/>
                      <a:pt x="93" y="22"/>
                      <a:pt x="93" y="22"/>
                    </a:cubicBezTo>
                    <a:cubicBezTo>
                      <a:pt x="93" y="30"/>
                      <a:pt x="90" y="36"/>
                      <a:pt x="86" y="40"/>
                    </a:cubicBezTo>
                    <a:cubicBezTo>
                      <a:pt x="82" y="44"/>
                      <a:pt x="76" y="46"/>
                      <a:pt x="68" y="46"/>
                    </a:cubicBezTo>
                    <a:cubicBezTo>
                      <a:pt x="55" y="46"/>
                      <a:pt x="46" y="40"/>
                      <a:pt x="43" y="29"/>
                    </a:cubicBezTo>
                    <a:cubicBezTo>
                      <a:pt x="43" y="29"/>
                      <a:pt x="43" y="29"/>
                      <a:pt x="43" y="29"/>
                    </a:cubicBezTo>
                    <a:cubicBezTo>
                      <a:pt x="41" y="33"/>
                      <a:pt x="37" y="36"/>
                      <a:pt x="29" y="39"/>
                    </a:cubicBezTo>
                    <a:cubicBezTo>
                      <a:pt x="0" y="49"/>
                      <a:pt x="0" y="49"/>
                      <a:pt x="0" y="49"/>
                    </a:cubicBezTo>
                    <a:lnTo>
                      <a:pt x="0" y="38"/>
                    </a:lnTo>
                    <a:close/>
                    <a:moveTo>
                      <a:pt x="84" y="10"/>
                    </a:moveTo>
                    <a:cubicBezTo>
                      <a:pt x="48" y="10"/>
                      <a:pt x="48" y="10"/>
                      <a:pt x="48" y="10"/>
                    </a:cubicBezTo>
                    <a:cubicBezTo>
                      <a:pt x="48" y="20"/>
                      <a:pt x="48" y="20"/>
                      <a:pt x="48" y="20"/>
                    </a:cubicBezTo>
                    <a:cubicBezTo>
                      <a:pt x="48" y="25"/>
                      <a:pt x="50" y="28"/>
                      <a:pt x="53" y="31"/>
                    </a:cubicBezTo>
                    <a:cubicBezTo>
                      <a:pt x="57" y="34"/>
                      <a:pt x="61" y="36"/>
                      <a:pt x="67" y="36"/>
                    </a:cubicBezTo>
                    <a:cubicBezTo>
                      <a:pt x="72" y="36"/>
                      <a:pt x="77" y="34"/>
                      <a:pt x="80" y="32"/>
                    </a:cubicBezTo>
                    <a:cubicBezTo>
                      <a:pt x="82" y="29"/>
                      <a:pt x="84" y="25"/>
                      <a:pt x="84" y="20"/>
                    </a:cubicBezTo>
                    <a:lnTo>
                      <a:pt x="84" y="1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201"/>
              <p:cNvSpPr>
                <a:spLocks/>
              </p:cNvSpPr>
              <p:nvPr/>
            </p:nvSpPr>
            <p:spPr bwMode="auto">
              <a:xfrm>
                <a:off x="6462713" y="5413375"/>
                <a:ext cx="239713" cy="100013"/>
              </a:xfrm>
              <a:custGeom>
                <a:avLst/>
                <a:gdLst/>
                <a:ahLst/>
                <a:cxnLst>
                  <a:cxn ang="0">
                    <a:pos x="0" y="0"/>
                  </a:cxn>
                  <a:cxn ang="0">
                    <a:pos x="151" y="0"/>
                  </a:cxn>
                  <a:cxn ang="0">
                    <a:pos x="151" y="60"/>
                  </a:cxn>
                  <a:cxn ang="0">
                    <a:pos x="136" y="60"/>
                  </a:cxn>
                  <a:cxn ang="0">
                    <a:pos x="136" y="14"/>
                  </a:cxn>
                  <a:cxn ang="0">
                    <a:pos x="83" y="14"/>
                  </a:cxn>
                  <a:cxn ang="0">
                    <a:pos x="83" y="57"/>
                  </a:cxn>
                  <a:cxn ang="0">
                    <a:pos x="68" y="57"/>
                  </a:cxn>
                  <a:cxn ang="0">
                    <a:pos x="68" y="14"/>
                  </a:cxn>
                  <a:cxn ang="0">
                    <a:pos x="14" y="14"/>
                  </a:cxn>
                  <a:cxn ang="0">
                    <a:pos x="14" y="63"/>
                  </a:cxn>
                  <a:cxn ang="0">
                    <a:pos x="0" y="63"/>
                  </a:cxn>
                  <a:cxn ang="0">
                    <a:pos x="0" y="0"/>
                  </a:cxn>
                </a:cxnLst>
                <a:rect l="0" t="0" r="r" b="b"/>
                <a:pathLst>
                  <a:path w="151" h="63">
                    <a:moveTo>
                      <a:pt x="0" y="0"/>
                    </a:moveTo>
                    <a:lnTo>
                      <a:pt x="151" y="0"/>
                    </a:lnTo>
                    <a:lnTo>
                      <a:pt x="151" y="60"/>
                    </a:lnTo>
                    <a:lnTo>
                      <a:pt x="136" y="60"/>
                    </a:lnTo>
                    <a:lnTo>
                      <a:pt x="136" y="14"/>
                    </a:lnTo>
                    <a:lnTo>
                      <a:pt x="83" y="14"/>
                    </a:lnTo>
                    <a:lnTo>
                      <a:pt x="83" y="57"/>
                    </a:lnTo>
                    <a:lnTo>
                      <a:pt x="68" y="57"/>
                    </a:lnTo>
                    <a:lnTo>
                      <a:pt x="68" y="14"/>
                    </a:lnTo>
                    <a:lnTo>
                      <a:pt x="14" y="14"/>
                    </a:lnTo>
                    <a:lnTo>
                      <a:pt x="14" y="63"/>
                    </a:lnTo>
                    <a:lnTo>
                      <a:pt x="0" y="63"/>
                    </a:lnTo>
                    <a:lnTo>
                      <a:pt x="0" y="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202"/>
              <p:cNvSpPr>
                <a:spLocks/>
              </p:cNvSpPr>
              <p:nvPr/>
            </p:nvSpPr>
            <p:spPr bwMode="auto">
              <a:xfrm>
                <a:off x="6462713" y="5554663"/>
                <a:ext cx="239713" cy="192088"/>
              </a:xfrm>
              <a:custGeom>
                <a:avLst/>
                <a:gdLst/>
                <a:ahLst/>
                <a:cxnLst>
                  <a:cxn ang="0">
                    <a:pos x="0" y="65"/>
                  </a:cxn>
                  <a:cxn ang="0">
                    <a:pos x="62" y="65"/>
                  </a:cxn>
                  <a:cxn ang="0">
                    <a:pos x="72" y="65"/>
                  </a:cxn>
                  <a:cxn ang="0">
                    <a:pos x="79" y="66"/>
                  </a:cxn>
                  <a:cxn ang="0">
                    <a:pos x="79" y="65"/>
                  </a:cxn>
                  <a:cxn ang="0">
                    <a:pos x="67" y="62"/>
                  </a:cxn>
                  <a:cxn ang="0">
                    <a:pos x="0" y="41"/>
                  </a:cxn>
                  <a:cxn ang="0">
                    <a:pos x="0" y="34"/>
                  </a:cxn>
                  <a:cxn ang="0">
                    <a:pos x="67" y="12"/>
                  </a:cxn>
                  <a:cxn ang="0">
                    <a:pos x="79" y="9"/>
                  </a:cxn>
                  <a:cxn ang="0">
                    <a:pos x="79" y="8"/>
                  </a:cxn>
                  <a:cxn ang="0">
                    <a:pos x="61" y="9"/>
                  </a:cxn>
                  <a:cxn ang="0">
                    <a:pos x="0" y="9"/>
                  </a:cxn>
                  <a:cxn ang="0">
                    <a:pos x="0" y="0"/>
                  </a:cxn>
                  <a:cxn ang="0">
                    <a:pos x="93" y="0"/>
                  </a:cxn>
                  <a:cxn ang="0">
                    <a:pos x="93" y="13"/>
                  </a:cxn>
                  <a:cxn ang="0">
                    <a:pos x="26" y="35"/>
                  </a:cxn>
                  <a:cxn ang="0">
                    <a:pos x="15" y="37"/>
                  </a:cxn>
                  <a:cxn ang="0">
                    <a:pos x="15" y="38"/>
                  </a:cxn>
                  <a:cxn ang="0">
                    <a:pos x="21" y="39"/>
                  </a:cxn>
                  <a:cxn ang="0">
                    <a:pos x="26" y="40"/>
                  </a:cxn>
                  <a:cxn ang="0">
                    <a:pos x="93" y="62"/>
                  </a:cxn>
                  <a:cxn ang="0">
                    <a:pos x="93" y="74"/>
                  </a:cxn>
                  <a:cxn ang="0">
                    <a:pos x="0" y="74"/>
                  </a:cxn>
                  <a:cxn ang="0">
                    <a:pos x="0" y="65"/>
                  </a:cxn>
                </a:cxnLst>
                <a:rect l="0" t="0" r="r" b="b"/>
                <a:pathLst>
                  <a:path w="93" h="74">
                    <a:moveTo>
                      <a:pt x="0" y="65"/>
                    </a:moveTo>
                    <a:cubicBezTo>
                      <a:pt x="62" y="65"/>
                      <a:pt x="62" y="65"/>
                      <a:pt x="62" y="65"/>
                    </a:cubicBezTo>
                    <a:cubicBezTo>
                      <a:pt x="66" y="65"/>
                      <a:pt x="69" y="65"/>
                      <a:pt x="72" y="65"/>
                    </a:cubicBezTo>
                    <a:cubicBezTo>
                      <a:pt x="75" y="65"/>
                      <a:pt x="77" y="65"/>
                      <a:pt x="79" y="66"/>
                    </a:cubicBezTo>
                    <a:cubicBezTo>
                      <a:pt x="79" y="65"/>
                      <a:pt x="79" y="65"/>
                      <a:pt x="79" y="65"/>
                    </a:cubicBezTo>
                    <a:cubicBezTo>
                      <a:pt x="74" y="64"/>
                      <a:pt x="70" y="63"/>
                      <a:pt x="67" y="62"/>
                    </a:cubicBezTo>
                    <a:cubicBezTo>
                      <a:pt x="0" y="41"/>
                      <a:pt x="0" y="41"/>
                      <a:pt x="0" y="41"/>
                    </a:cubicBezTo>
                    <a:cubicBezTo>
                      <a:pt x="0" y="34"/>
                      <a:pt x="0" y="34"/>
                      <a:pt x="0" y="34"/>
                    </a:cubicBezTo>
                    <a:cubicBezTo>
                      <a:pt x="67" y="12"/>
                      <a:pt x="67" y="12"/>
                      <a:pt x="67" y="12"/>
                    </a:cubicBezTo>
                    <a:cubicBezTo>
                      <a:pt x="68" y="11"/>
                      <a:pt x="72" y="10"/>
                      <a:pt x="79" y="9"/>
                    </a:cubicBezTo>
                    <a:cubicBezTo>
                      <a:pt x="79" y="8"/>
                      <a:pt x="79" y="8"/>
                      <a:pt x="79" y="8"/>
                    </a:cubicBezTo>
                    <a:cubicBezTo>
                      <a:pt x="73" y="9"/>
                      <a:pt x="67" y="9"/>
                      <a:pt x="61" y="9"/>
                    </a:cubicBezTo>
                    <a:cubicBezTo>
                      <a:pt x="0" y="9"/>
                      <a:pt x="0" y="9"/>
                      <a:pt x="0" y="9"/>
                    </a:cubicBezTo>
                    <a:cubicBezTo>
                      <a:pt x="0" y="0"/>
                      <a:pt x="0" y="0"/>
                      <a:pt x="0" y="0"/>
                    </a:cubicBezTo>
                    <a:cubicBezTo>
                      <a:pt x="93" y="0"/>
                      <a:pt x="93" y="0"/>
                      <a:pt x="93" y="0"/>
                    </a:cubicBezTo>
                    <a:cubicBezTo>
                      <a:pt x="93" y="13"/>
                      <a:pt x="93" y="13"/>
                      <a:pt x="93" y="13"/>
                    </a:cubicBezTo>
                    <a:cubicBezTo>
                      <a:pt x="26" y="35"/>
                      <a:pt x="26" y="35"/>
                      <a:pt x="26" y="35"/>
                    </a:cubicBezTo>
                    <a:cubicBezTo>
                      <a:pt x="23" y="36"/>
                      <a:pt x="19" y="37"/>
                      <a:pt x="15" y="37"/>
                    </a:cubicBezTo>
                    <a:cubicBezTo>
                      <a:pt x="15" y="38"/>
                      <a:pt x="15" y="38"/>
                      <a:pt x="15" y="38"/>
                    </a:cubicBezTo>
                    <a:cubicBezTo>
                      <a:pt x="17" y="38"/>
                      <a:pt x="19" y="38"/>
                      <a:pt x="21" y="39"/>
                    </a:cubicBezTo>
                    <a:cubicBezTo>
                      <a:pt x="23" y="39"/>
                      <a:pt x="24" y="40"/>
                      <a:pt x="26" y="40"/>
                    </a:cubicBezTo>
                    <a:cubicBezTo>
                      <a:pt x="93" y="62"/>
                      <a:pt x="93" y="62"/>
                      <a:pt x="93" y="62"/>
                    </a:cubicBezTo>
                    <a:cubicBezTo>
                      <a:pt x="93" y="74"/>
                      <a:pt x="93" y="74"/>
                      <a:pt x="93" y="74"/>
                    </a:cubicBezTo>
                    <a:cubicBezTo>
                      <a:pt x="0" y="74"/>
                      <a:pt x="0" y="74"/>
                      <a:pt x="0" y="74"/>
                    </a:cubicBezTo>
                    <a:lnTo>
                      <a:pt x="0" y="65"/>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03"/>
              <p:cNvSpPr>
                <a:spLocks/>
              </p:cNvSpPr>
              <p:nvPr/>
            </p:nvSpPr>
            <p:spPr bwMode="auto">
              <a:xfrm>
                <a:off x="6042025" y="5040313"/>
                <a:ext cx="241300" cy="160338"/>
              </a:xfrm>
              <a:custGeom>
                <a:avLst/>
                <a:gdLst/>
                <a:ahLst/>
                <a:cxnLst>
                  <a:cxn ang="0">
                    <a:pos x="0" y="0"/>
                  </a:cxn>
                  <a:cxn ang="0">
                    <a:pos x="27" y="7"/>
                  </a:cxn>
                  <a:cxn ang="0">
                    <a:pos x="27" y="38"/>
                  </a:cxn>
                  <a:cxn ang="0">
                    <a:pos x="120" y="57"/>
                  </a:cxn>
                  <a:cxn ang="0">
                    <a:pos x="113" y="23"/>
                  </a:cxn>
                  <a:cxn ang="0">
                    <a:pos x="139" y="30"/>
                  </a:cxn>
                  <a:cxn ang="0">
                    <a:pos x="152" y="98"/>
                  </a:cxn>
                  <a:cxn ang="0">
                    <a:pos x="27" y="70"/>
                  </a:cxn>
                  <a:cxn ang="0">
                    <a:pos x="27" y="101"/>
                  </a:cxn>
                  <a:cxn ang="0">
                    <a:pos x="0" y="95"/>
                  </a:cxn>
                  <a:cxn ang="0">
                    <a:pos x="0" y="0"/>
                  </a:cxn>
                </a:cxnLst>
                <a:rect l="0" t="0" r="r" b="b"/>
                <a:pathLst>
                  <a:path w="152" h="101">
                    <a:moveTo>
                      <a:pt x="0" y="0"/>
                    </a:moveTo>
                    <a:lnTo>
                      <a:pt x="27" y="7"/>
                    </a:lnTo>
                    <a:lnTo>
                      <a:pt x="27" y="38"/>
                    </a:lnTo>
                    <a:lnTo>
                      <a:pt x="120" y="57"/>
                    </a:lnTo>
                    <a:lnTo>
                      <a:pt x="113" y="23"/>
                    </a:lnTo>
                    <a:lnTo>
                      <a:pt x="139" y="30"/>
                    </a:lnTo>
                    <a:lnTo>
                      <a:pt x="152" y="98"/>
                    </a:lnTo>
                    <a:lnTo>
                      <a:pt x="27" y="70"/>
                    </a:lnTo>
                    <a:lnTo>
                      <a:pt x="27" y="101"/>
                    </a:lnTo>
                    <a:lnTo>
                      <a:pt x="0" y="95"/>
                    </a:lnTo>
                    <a:lnTo>
                      <a:pt x="0" y="0"/>
                    </a:ln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204"/>
              <p:cNvSpPr>
                <a:spLocks/>
              </p:cNvSpPr>
              <p:nvPr/>
            </p:nvSpPr>
            <p:spPr bwMode="auto">
              <a:xfrm>
                <a:off x="6042025" y="5229225"/>
                <a:ext cx="241300" cy="196850"/>
              </a:xfrm>
              <a:custGeom>
                <a:avLst/>
                <a:gdLst/>
                <a:ahLst/>
                <a:cxnLst>
                  <a:cxn ang="0">
                    <a:pos x="71" y="76"/>
                  </a:cxn>
                  <a:cxn ang="0">
                    <a:pos x="61" y="74"/>
                  </a:cxn>
                  <a:cxn ang="0">
                    <a:pos x="52" y="69"/>
                  </a:cxn>
                  <a:cxn ang="0">
                    <a:pos x="43" y="61"/>
                  </a:cxn>
                  <a:cxn ang="0">
                    <a:pos x="34" y="50"/>
                  </a:cxn>
                  <a:cxn ang="0">
                    <a:pos x="18" y="27"/>
                  </a:cxn>
                  <a:cxn ang="0">
                    <a:pos x="17" y="27"/>
                  </a:cxn>
                  <a:cxn ang="0">
                    <a:pos x="17" y="64"/>
                  </a:cxn>
                  <a:cxn ang="0">
                    <a:pos x="0" y="61"/>
                  </a:cxn>
                  <a:cxn ang="0">
                    <a:pos x="0" y="0"/>
                  </a:cxn>
                  <a:cxn ang="0">
                    <a:pos x="17" y="3"/>
                  </a:cxn>
                  <a:cxn ang="0">
                    <a:pos x="43" y="36"/>
                  </a:cxn>
                  <a:cxn ang="0">
                    <a:pos x="50" y="45"/>
                  </a:cxn>
                  <a:cxn ang="0">
                    <a:pos x="56" y="51"/>
                  </a:cxn>
                  <a:cxn ang="0">
                    <a:pos x="62" y="54"/>
                  </a:cxn>
                  <a:cxn ang="0">
                    <a:pos x="67" y="55"/>
                  </a:cxn>
                  <a:cxn ang="0">
                    <a:pos x="72" y="55"/>
                  </a:cxn>
                  <a:cxn ang="0">
                    <a:pos x="75" y="52"/>
                  </a:cxn>
                  <a:cxn ang="0">
                    <a:pos x="77" y="48"/>
                  </a:cxn>
                  <a:cxn ang="0">
                    <a:pos x="78" y="42"/>
                  </a:cxn>
                  <a:cxn ang="0">
                    <a:pos x="77" y="36"/>
                  </a:cxn>
                  <a:cxn ang="0">
                    <a:pos x="76" y="30"/>
                  </a:cxn>
                  <a:cxn ang="0">
                    <a:pos x="73" y="24"/>
                  </a:cxn>
                  <a:cxn ang="0">
                    <a:pos x="70" y="19"/>
                  </a:cxn>
                  <a:cxn ang="0">
                    <a:pos x="89" y="23"/>
                  </a:cxn>
                  <a:cxn ang="0">
                    <a:pos x="91" y="27"/>
                  </a:cxn>
                  <a:cxn ang="0">
                    <a:pos x="92" y="33"/>
                  </a:cxn>
                  <a:cxn ang="0">
                    <a:pos x="94" y="40"/>
                  </a:cxn>
                  <a:cxn ang="0">
                    <a:pos x="94" y="48"/>
                  </a:cxn>
                  <a:cxn ang="0">
                    <a:pos x="93" y="60"/>
                  </a:cxn>
                  <a:cxn ang="0">
                    <a:pos x="88" y="69"/>
                  </a:cxn>
                  <a:cxn ang="0">
                    <a:pos x="81" y="74"/>
                  </a:cxn>
                  <a:cxn ang="0">
                    <a:pos x="71" y="76"/>
                  </a:cxn>
                </a:cxnLst>
                <a:rect l="0" t="0" r="r" b="b"/>
                <a:pathLst>
                  <a:path w="94" h="76">
                    <a:moveTo>
                      <a:pt x="71" y="76"/>
                    </a:moveTo>
                    <a:cubicBezTo>
                      <a:pt x="67" y="76"/>
                      <a:pt x="64" y="75"/>
                      <a:pt x="61" y="74"/>
                    </a:cubicBezTo>
                    <a:cubicBezTo>
                      <a:pt x="58" y="73"/>
                      <a:pt x="55" y="71"/>
                      <a:pt x="52" y="69"/>
                    </a:cubicBezTo>
                    <a:cubicBezTo>
                      <a:pt x="49" y="67"/>
                      <a:pt x="46" y="64"/>
                      <a:pt x="43" y="61"/>
                    </a:cubicBezTo>
                    <a:cubicBezTo>
                      <a:pt x="40" y="58"/>
                      <a:pt x="37" y="54"/>
                      <a:pt x="34" y="50"/>
                    </a:cubicBezTo>
                    <a:cubicBezTo>
                      <a:pt x="18" y="27"/>
                      <a:pt x="18" y="27"/>
                      <a:pt x="18" y="27"/>
                    </a:cubicBezTo>
                    <a:cubicBezTo>
                      <a:pt x="17" y="27"/>
                      <a:pt x="17" y="27"/>
                      <a:pt x="17" y="27"/>
                    </a:cubicBezTo>
                    <a:cubicBezTo>
                      <a:pt x="17" y="64"/>
                      <a:pt x="17" y="64"/>
                      <a:pt x="17" y="64"/>
                    </a:cubicBezTo>
                    <a:cubicBezTo>
                      <a:pt x="0" y="61"/>
                      <a:pt x="0" y="61"/>
                      <a:pt x="0" y="61"/>
                    </a:cubicBezTo>
                    <a:cubicBezTo>
                      <a:pt x="0" y="0"/>
                      <a:pt x="0" y="0"/>
                      <a:pt x="0" y="0"/>
                    </a:cubicBezTo>
                    <a:cubicBezTo>
                      <a:pt x="17" y="3"/>
                      <a:pt x="17" y="3"/>
                      <a:pt x="17" y="3"/>
                    </a:cubicBezTo>
                    <a:cubicBezTo>
                      <a:pt x="43" y="36"/>
                      <a:pt x="43" y="36"/>
                      <a:pt x="43" y="36"/>
                    </a:cubicBezTo>
                    <a:cubicBezTo>
                      <a:pt x="46" y="40"/>
                      <a:pt x="48" y="42"/>
                      <a:pt x="50" y="45"/>
                    </a:cubicBezTo>
                    <a:cubicBezTo>
                      <a:pt x="52" y="47"/>
                      <a:pt x="54" y="49"/>
                      <a:pt x="56" y="51"/>
                    </a:cubicBezTo>
                    <a:cubicBezTo>
                      <a:pt x="58" y="52"/>
                      <a:pt x="60" y="53"/>
                      <a:pt x="62" y="54"/>
                    </a:cubicBezTo>
                    <a:cubicBezTo>
                      <a:pt x="63" y="55"/>
                      <a:pt x="65" y="55"/>
                      <a:pt x="67" y="55"/>
                    </a:cubicBezTo>
                    <a:cubicBezTo>
                      <a:pt x="69" y="55"/>
                      <a:pt x="70" y="55"/>
                      <a:pt x="72" y="55"/>
                    </a:cubicBezTo>
                    <a:cubicBezTo>
                      <a:pt x="73" y="54"/>
                      <a:pt x="74" y="53"/>
                      <a:pt x="75" y="52"/>
                    </a:cubicBezTo>
                    <a:cubicBezTo>
                      <a:pt x="76" y="51"/>
                      <a:pt x="77" y="50"/>
                      <a:pt x="77" y="48"/>
                    </a:cubicBezTo>
                    <a:cubicBezTo>
                      <a:pt x="78" y="47"/>
                      <a:pt x="78" y="45"/>
                      <a:pt x="78" y="42"/>
                    </a:cubicBezTo>
                    <a:cubicBezTo>
                      <a:pt x="78" y="40"/>
                      <a:pt x="78" y="38"/>
                      <a:pt x="77" y="36"/>
                    </a:cubicBezTo>
                    <a:cubicBezTo>
                      <a:pt x="77" y="34"/>
                      <a:pt x="76" y="32"/>
                      <a:pt x="76" y="30"/>
                    </a:cubicBezTo>
                    <a:cubicBezTo>
                      <a:pt x="75" y="28"/>
                      <a:pt x="74" y="26"/>
                      <a:pt x="73" y="24"/>
                    </a:cubicBezTo>
                    <a:cubicBezTo>
                      <a:pt x="72" y="22"/>
                      <a:pt x="71" y="20"/>
                      <a:pt x="70" y="19"/>
                    </a:cubicBezTo>
                    <a:cubicBezTo>
                      <a:pt x="89" y="23"/>
                      <a:pt x="89" y="23"/>
                      <a:pt x="89" y="23"/>
                    </a:cubicBezTo>
                    <a:cubicBezTo>
                      <a:pt x="89" y="24"/>
                      <a:pt x="90" y="25"/>
                      <a:pt x="91" y="27"/>
                    </a:cubicBezTo>
                    <a:cubicBezTo>
                      <a:pt x="91" y="29"/>
                      <a:pt x="92" y="31"/>
                      <a:pt x="92" y="33"/>
                    </a:cubicBezTo>
                    <a:cubicBezTo>
                      <a:pt x="93" y="35"/>
                      <a:pt x="93" y="37"/>
                      <a:pt x="94" y="40"/>
                    </a:cubicBezTo>
                    <a:cubicBezTo>
                      <a:pt x="94" y="42"/>
                      <a:pt x="94" y="45"/>
                      <a:pt x="94" y="48"/>
                    </a:cubicBezTo>
                    <a:cubicBezTo>
                      <a:pt x="94" y="53"/>
                      <a:pt x="94" y="57"/>
                      <a:pt x="93" y="60"/>
                    </a:cubicBezTo>
                    <a:cubicBezTo>
                      <a:pt x="92" y="64"/>
                      <a:pt x="90" y="67"/>
                      <a:pt x="88" y="69"/>
                    </a:cubicBezTo>
                    <a:cubicBezTo>
                      <a:pt x="86" y="71"/>
                      <a:pt x="83" y="73"/>
                      <a:pt x="81" y="74"/>
                    </a:cubicBezTo>
                    <a:cubicBezTo>
                      <a:pt x="78" y="75"/>
                      <a:pt x="75" y="76"/>
                      <a:pt x="71" y="76"/>
                    </a:cubicBezTo>
                    <a:close/>
                  </a:path>
                </a:pathLst>
              </a:custGeom>
              <a:solidFill>
                <a:srgbClr val="231F20">
                  <a:alpha val="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59" name="TextBox 58"/>
            <p:cNvSpPr txBox="1"/>
            <p:nvPr/>
          </p:nvSpPr>
          <p:spPr>
            <a:xfrm rot="5400000">
              <a:off x="8731452" y="5832216"/>
              <a:ext cx="1809752" cy="184666"/>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Condensed" pitchFamily="34" charset="0"/>
                  <a:ea typeface="+mn-ea"/>
                  <a:cs typeface="+mn-cs"/>
                </a:rPr>
                <a:t>PPT REM 12</a:t>
              </a:r>
            </a:p>
          </p:txBody>
        </p:sp>
      </p:grpSp>
      <p:grpSp>
        <p:nvGrpSpPr>
          <p:cNvPr id="22" name="Group 21"/>
          <p:cNvGrpSpPr/>
          <p:nvPr/>
        </p:nvGrpSpPr>
        <p:grpSpPr>
          <a:xfrm>
            <a:off x="5156499" y="2792998"/>
            <a:ext cx="2150699" cy="2150700"/>
            <a:chOff x="5156499" y="2792998"/>
            <a:chExt cx="2150699" cy="2150700"/>
          </a:xfrm>
        </p:grpSpPr>
        <p:sp>
          <p:nvSpPr>
            <p:cNvPr id="13" name="Oval 12"/>
            <p:cNvSpPr/>
            <p:nvPr/>
          </p:nvSpPr>
          <p:spPr bwMode="auto">
            <a:xfrm>
              <a:off x="5156499" y="2792998"/>
              <a:ext cx="2150699" cy="2150700"/>
            </a:xfrm>
            <a:prstGeom prst="ellipse">
              <a:avLst/>
            </a:prstGeom>
            <a:solidFill>
              <a:schemeClr val="bg2"/>
            </a:solid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Freeform 119"/>
            <p:cNvSpPr>
              <a:spLocks noChangeAspect="1" noEditPoints="1"/>
            </p:cNvSpPr>
            <p:nvPr/>
          </p:nvSpPr>
          <p:spPr bwMode="auto">
            <a:xfrm>
              <a:off x="5718336" y="3433602"/>
              <a:ext cx="883861" cy="826731"/>
            </a:xfrm>
            <a:custGeom>
              <a:avLst/>
              <a:gdLst>
                <a:gd name="T0" fmla="*/ 1438 w 2955"/>
                <a:gd name="T1" fmla="*/ 1625 h 2764"/>
                <a:gd name="T2" fmla="*/ 0 w 2955"/>
                <a:gd name="T3" fmla="*/ 1779 h 2764"/>
                <a:gd name="T4" fmla="*/ 845 w 2955"/>
                <a:gd name="T5" fmla="*/ 1531 h 2764"/>
                <a:gd name="T6" fmla="*/ 1438 w 2955"/>
                <a:gd name="T7" fmla="*/ 2764 h 2764"/>
                <a:gd name="T8" fmla="*/ 2955 w 2955"/>
                <a:gd name="T9" fmla="*/ 0 h 2764"/>
                <a:gd name="T10" fmla="*/ 1977 w 2955"/>
                <a:gd name="T11" fmla="*/ 2339 h 2764"/>
                <a:gd name="T12" fmla="*/ 1764 w 2955"/>
                <a:gd name="T13" fmla="*/ 2126 h 2764"/>
                <a:gd name="T14" fmla="*/ 1977 w 2955"/>
                <a:gd name="T15" fmla="*/ 2339 h 2764"/>
                <a:gd name="T16" fmla="*/ 1764 w 2955"/>
                <a:gd name="T17" fmla="*/ 1913 h 2764"/>
                <a:gd name="T18" fmla="*/ 1977 w 2955"/>
                <a:gd name="T19" fmla="*/ 1701 h 2764"/>
                <a:gd name="T20" fmla="*/ 1977 w 2955"/>
                <a:gd name="T21" fmla="*/ 1488 h 2764"/>
                <a:gd name="T22" fmla="*/ 1764 w 2955"/>
                <a:gd name="T23" fmla="*/ 1276 h 2764"/>
                <a:gd name="T24" fmla="*/ 1977 w 2955"/>
                <a:gd name="T25" fmla="*/ 1488 h 2764"/>
                <a:gd name="T26" fmla="*/ 1764 w 2955"/>
                <a:gd name="T27" fmla="*/ 1063 h 2764"/>
                <a:gd name="T28" fmla="*/ 1977 w 2955"/>
                <a:gd name="T29" fmla="*/ 850 h 2764"/>
                <a:gd name="T30" fmla="*/ 1977 w 2955"/>
                <a:gd name="T31" fmla="*/ 638 h 2764"/>
                <a:gd name="T32" fmla="*/ 1764 w 2955"/>
                <a:gd name="T33" fmla="*/ 425 h 2764"/>
                <a:gd name="T34" fmla="*/ 1977 w 2955"/>
                <a:gd name="T35" fmla="*/ 638 h 2764"/>
                <a:gd name="T36" fmla="*/ 2090 w 2955"/>
                <a:gd name="T37" fmla="*/ 2339 h 2764"/>
                <a:gd name="T38" fmla="*/ 2303 w 2955"/>
                <a:gd name="T39" fmla="*/ 2126 h 2764"/>
                <a:gd name="T40" fmla="*/ 2303 w 2955"/>
                <a:gd name="T41" fmla="*/ 1913 h 2764"/>
                <a:gd name="T42" fmla="*/ 2090 w 2955"/>
                <a:gd name="T43" fmla="*/ 1701 h 2764"/>
                <a:gd name="T44" fmla="*/ 2303 w 2955"/>
                <a:gd name="T45" fmla="*/ 1913 h 2764"/>
                <a:gd name="T46" fmla="*/ 2090 w 2955"/>
                <a:gd name="T47" fmla="*/ 1488 h 2764"/>
                <a:gd name="T48" fmla="*/ 2303 w 2955"/>
                <a:gd name="T49" fmla="*/ 1276 h 2764"/>
                <a:gd name="T50" fmla="*/ 2303 w 2955"/>
                <a:gd name="T51" fmla="*/ 1063 h 2764"/>
                <a:gd name="T52" fmla="*/ 2090 w 2955"/>
                <a:gd name="T53" fmla="*/ 850 h 2764"/>
                <a:gd name="T54" fmla="*/ 2303 w 2955"/>
                <a:gd name="T55" fmla="*/ 1063 h 2764"/>
                <a:gd name="T56" fmla="*/ 2090 w 2955"/>
                <a:gd name="T57" fmla="*/ 638 h 2764"/>
                <a:gd name="T58" fmla="*/ 2303 w 2955"/>
                <a:gd name="T59" fmla="*/ 425 h 2764"/>
                <a:gd name="T60" fmla="*/ 2629 w 2955"/>
                <a:gd name="T61" fmla="*/ 2339 h 2764"/>
                <a:gd name="T62" fmla="*/ 2416 w 2955"/>
                <a:gd name="T63" fmla="*/ 2126 h 2764"/>
                <a:gd name="T64" fmla="*/ 2629 w 2955"/>
                <a:gd name="T65" fmla="*/ 2339 h 2764"/>
                <a:gd name="T66" fmla="*/ 2416 w 2955"/>
                <a:gd name="T67" fmla="*/ 1913 h 2764"/>
                <a:gd name="T68" fmla="*/ 2629 w 2955"/>
                <a:gd name="T69" fmla="*/ 1701 h 2764"/>
                <a:gd name="T70" fmla="*/ 2629 w 2955"/>
                <a:gd name="T71" fmla="*/ 1488 h 2764"/>
                <a:gd name="T72" fmla="*/ 2416 w 2955"/>
                <a:gd name="T73" fmla="*/ 1276 h 2764"/>
                <a:gd name="T74" fmla="*/ 2629 w 2955"/>
                <a:gd name="T75" fmla="*/ 1488 h 2764"/>
                <a:gd name="T76" fmla="*/ 2416 w 2955"/>
                <a:gd name="T77" fmla="*/ 1063 h 2764"/>
                <a:gd name="T78" fmla="*/ 2629 w 2955"/>
                <a:gd name="T79" fmla="*/ 850 h 2764"/>
                <a:gd name="T80" fmla="*/ 2629 w 2955"/>
                <a:gd name="T81" fmla="*/ 638 h 2764"/>
                <a:gd name="T82" fmla="*/ 2416 w 2955"/>
                <a:gd name="T83" fmla="*/ 425 h 2764"/>
                <a:gd name="T84" fmla="*/ 2629 w 2955"/>
                <a:gd name="T85" fmla="*/ 638 h 2764"/>
                <a:gd name="T86" fmla="*/ 1370 w 2955"/>
                <a:gd name="T87" fmla="*/ 1921 h 2764"/>
                <a:gd name="T88" fmla="*/ 1003 w 2955"/>
                <a:gd name="T89" fmla="*/ 2764 h 2764"/>
                <a:gd name="T90" fmla="*/ 685 w 2955"/>
                <a:gd name="T91" fmla="*/ 2183 h 2764"/>
                <a:gd name="T92" fmla="*/ 318 w 2955"/>
                <a:gd name="T93" fmla="*/ 2764 h 2764"/>
                <a:gd name="T94" fmla="*/ 845 w 2955"/>
                <a:gd name="T95" fmla="*/ 1602 h 2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55" h="2764">
                  <a:moveTo>
                    <a:pt x="1438" y="0"/>
                  </a:moveTo>
                  <a:lnTo>
                    <a:pt x="1438" y="1625"/>
                  </a:lnTo>
                  <a:lnTo>
                    <a:pt x="845" y="1266"/>
                  </a:lnTo>
                  <a:lnTo>
                    <a:pt x="0" y="1779"/>
                  </a:lnTo>
                  <a:lnTo>
                    <a:pt x="134" y="1961"/>
                  </a:lnTo>
                  <a:lnTo>
                    <a:pt x="845" y="1531"/>
                  </a:lnTo>
                  <a:lnTo>
                    <a:pt x="1438" y="1890"/>
                  </a:lnTo>
                  <a:lnTo>
                    <a:pt x="1438" y="2764"/>
                  </a:lnTo>
                  <a:lnTo>
                    <a:pt x="2955" y="2764"/>
                  </a:lnTo>
                  <a:lnTo>
                    <a:pt x="2955" y="0"/>
                  </a:lnTo>
                  <a:lnTo>
                    <a:pt x="1438" y="0"/>
                  </a:lnTo>
                  <a:close/>
                  <a:moveTo>
                    <a:pt x="1977" y="2339"/>
                  </a:moveTo>
                  <a:lnTo>
                    <a:pt x="1764" y="2339"/>
                  </a:lnTo>
                  <a:lnTo>
                    <a:pt x="1764" y="2126"/>
                  </a:lnTo>
                  <a:lnTo>
                    <a:pt x="1977" y="2126"/>
                  </a:lnTo>
                  <a:lnTo>
                    <a:pt x="1977" y="2339"/>
                  </a:lnTo>
                  <a:close/>
                  <a:moveTo>
                    <a:pt x="1977" y="1913"/>
                  </a:moveTo>
                  <a:lnTo>
                    <a:pt x="1764" y="1913"/>
                  </a:lnTo>
                  <a:lnTo>
                    <a:pt x="1764" y="1701"/>
                  </a:lnTo>
                  <a:lnTo>
                    <a:pt x="1977" y="1701"/>
                  </a:lnTo>
                  <a:lnTo>
                    <a:pt x="1977" y="1913"/>
                  </a:lnTo>
                  <a:close/>
                  <a:moveTo>
                    <a:pt x="1977" y="1488"/>
                  </a:moveTo>
                  <a:lnTo>
                    <a:pt x="1764" y="1488"/>
                  </a:lnTo>
                  <a:lnTo>
                    <a:pt x="1764" y="1276"/>
                  </a:lnTo>
                  <a:lnTo>
                    <a:pt x="1977" y="1276"/>
                  </a:lnTo>
                  <a:lnTo>
                    <a:pt x="1977" y="1488"/>
                  </a:lnTo>
                  <a:close/>
                  <a:moveTo>
                    <a:pt x="1977" y="1063"/>
                  </a:moveTo>
                  <a:lnTo>
                    <a:pt x="1764" y="1063"/>
                  </a:lnTo>
                  <a:lnTo>
                    <a:pt x="1764" y="850"/>
                  </a:lnTo>
                  <a:lnTo>
                    <a:pt x="1977" y="850"/>
                  </a:lnTo>
                  <a:lnTo>
                    <a:pt x="1977" y="1063"/>
                  </a:lnTo>
                  <a:close/>
                  <a:moveTo>
                    <a:pt x="1977" y="638"/>
                  </a:moveTo>
                  <a:lnTo>
                    <a:pt x="1764" y="638"/>
                  </a:lnTo>
                  <a:lnTo>
                    <a:pt x="1764" y="425"/>
                  </a:lnTo>
                  <a:lnTo>
                    <a:pt x="1977" y="425"/>
                  </a:lnTo>
                  <a:lnTo>
                    <a:pt x="1977" y="638"/>
                  </a:lnTo>
                  <a:close/>
                  <a:moveTo>
                    <a:pt x="2303" y="2339"/>
                  </a:moveTo>
                  <a:lnTo>
                    <a:pt x="2090" y="2339"/>
                  </a:lnTo>
                  <a:lnTo>
                    <a:pt x="2090" y="2126"/>
                  </a:lnTo>
                  <a:lnTo>
                    <a:pt x="2303" y="2126"/>
                  </a:lnTo>
                  <a:lnTo>
                    <a:pt x="2303" y="2339"/>
                  </a:lnTo>
                  <a:close/>
                  <a:moveTo>
                    <a:pt x="2303" y="1913"/>
                  </a:moveTo>
                  <a:lnTo>
                    <a:pt x="2090" y="1913"/>
                  </a:lnTo>
                  <a:lnTo>
                    <a:pt x="2090" y="1701"/>
                  </a:lnTo>
                  <a:lnTo>
                    <a:pt x="2303" y="1701"/>
                  </a:lnTo>
                  <a:lnTo>
                    <a:pt x="2303" y="1913"/>
                  </a:lnTo>
                  <a:close/>
                  <a:moveTo>
                    <a:pt x="2303" y="1488"/>
                  </a:moveTo>
                  <a:lnTo>
                    <a:pt x="2090" y="1488"/>
                  </a:lnTo>
                  <a:lnTo>
                    <a:pt x="2090" y="1276"/>
                  </a:lnTo>
                  <a:lnTo>
                    <a:pt x="2303" y="1276"/>
                  </a:lnTo>
                  <a:lnTo>
                    <a:pt x="2303" y="1488"/>
                  </a:lnTo>
                  <a:close/>
                  <a:moveTo>
                    <a:pt x="2303" y="1063"/>
                  </a:moveTo>
                  <a:lnTo>
                    <a:pt x="2090" y="1063"/>
                  </a:lnTo>
                  <a:lnTo>
                    <a:pt x="2090" y="850"/>
                  </a:lnTo>
                  <a:lnTo>
                    <a:pt x="2303" y="850"/>
                  </a:lnTo>
                  <a:lnTo>
                    <a:pt x="2303" y="1063"/>
                  </a:lnTo>
                  <a:close/>
                  <a:moveTo>
                    <a:pt x="2303" y="638"/>
                  </a:moveTo>
                  <a:lnTo>
                    <a:pt x="2090" y="638"/>
                  </a:lnTo>
                  <a:lnTo>
                    <a:pt x="2090" y="425"/>
                  </a:lnTo>
                  <a:lnTo>
                    <a:pt x="2303" y="425"/>
                  </a:lnTo>
                  <a:lnTo>
                    <a:pt x="2303" y="638"/>
                  </a:lnTo>
                  <a:close/>
                  <a:moveTo>
                    <a:pt x="2629" y="2339"/>
                  </a:moveTo>
                  <a:lnTo>
                    <a:pt x="2416" y="2339"/>
                  </a:lnTo>
                  <a:lnTo>
                    <a:pt x="2416" y="2126"/>
                  </a:lnTo>
                  <a:lnTo>
                    <a:pt x="2629" y="2126"/>
                  </a:lnTo>
                  <a:lnTo>
                    <a:pt x="2629" y="2339"/>
                  </a:lnTo>
                  <a:close/>
                  <a:moveTo>
                    <a:pt x="2629" y="1913"/>
                  </a:moveTo>
                  <a:lnTo>
                    <a:pt x="2416" y="1913"/>
                  </a:lnTo>
                  <a:lnTo>
                    <a:pt x="2416" y="1701"/>
                  </a:lnTo>
                  <a:lnTo>
                    <a:pt x="2629" y="1701"/>
                  </a:lnTo>
                  <a:lnTo>
                    <a:pt x="2629" y="1913"/>
                  </a:lnTo>
                  <a:close/>
                  <a:moveTo>
                    <a:pt x="2629" y="1488"/>
                  </a:moveTo>
                  <a:lnTo>
                    <a:pt x="2416" y="1488"/>
                  </a:lnTo>
                  <a:lnTo>
                    <a:pt x="2416" y="1276"/>
                  </a:lnTo>
                  <a:lnTo>
                    <a:pt x="2629" y="1276"/>
                  </a:lnTo>
                  <a:lnTo>
                    <a:pt x="2629" y="1488"/>
                  </a:lnTo>
                  <a:close/>
                  <a:moveTo>
                    <a:pt x="2629" y="1063"/>
                  </a:moveTo>
                  <a:lnTo>
                    <a:pt x="2416" y="1063"/>
                  </a:lnTo>
                  <a:lnTo>
                    <a:pt x="2416" y="850"/>
                  </a:lnTo>
                  <a:lnTo>
                    <a:pt x="2629" y="850"/>
                  </a:lnTo>
                  <a:lnTo>
                    <a:pt x="2629" y="1063"/>
                  </a:lnTo>
                  <a:close/>
                  <a:moveTo>
                    <a:pt x="2629" y="638"/>
                  </a:moveTo>
                  <a:lnTo>
                    <a:pt x="2416" y="638"/>
                  </a:lnTo>
                  <a:lnTo>
                    <a:pt x="2416" y="425"/>
                  </a:lnTo>
                  <a:lnTo>
                    <a:pt x="2629" y="425"/>
                  </a:lnTo>
                  <a:lnTo>
                    <a:pt x="2629" y="638"/>
                  </a:lnTo>
                  <a:close/>
                  <a:moveTo>
                    <a:pt x="845" y="1602"/>
                  </a:moveTo>
                  <a:lnTo>
                    <a:pt x="1370" y="1921"/>
                  </a:lnTo>
                  <a:lnTo>
                    <a:pt x="1370" y="2764"/>
                  </a:lnTo>
                  <a:lnTo>
                    <a:pt x="1003" y="2764"/>
                  </a:lnTo>
                  <a:lnTo>
                    <a:pt x="1003" y="2183"/>
                  </a:lnTo>
                  <a:lnTo>
                    <a:pt x="685" y="2183"/>
                  </a:lnTo>
                  <a:lnTo>
                    <a:pt x="685" y="2764"/>
                  </a:lnTo>
                  <a:lnTo>
                    <a:pt x="318" y="2764"/>
                  </a:lnTo>
                  <a:lnTo>
                    <a:pt x="318" y="1921"/>
                  </a:lnTo>
                  <a:lnTo>
                    <a:pt x="845" y="16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7462801" y="3229538"/>
            <a:ext cx="918992" cy="918993"/>
            <a:chOff x="7462801" y="3229538"/>
            <a:chExt cx="918992" cy="918993"/>
          </a:xfrm>
        </p:grpSpPr>
        <p:sp>
          <p:nvSpPr>
            <p:cNvPr id="18" name="Oval 17"/>
            <p:cNvSpPr/>
            <p:nvPr/>
          </p:nvSpPr>
          <p:spPr bwMode="auto">
            <a:xfrm>
              <a:off x="7462801" y="3229538"/>
              <a:ext cx="918992" cy="918993"/>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534"/>
            <p:cNvSpPr>
              <a:spLocks noChangeAspect="1" noEditPoints="1"/>
            </p:cNvSpPr>
            <p:nvPr/>
          </p:nvSpPr>
          <p:spPr bwMode="auto">
            <a:xfrm>
              <a:off x="7645717" y="3517582"/>
              <a:ext cx="577287" cy="31738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 name="T20" fmla="*/ 45 w 400"/>
                <a:gd name="T21" fmla="*/ 161 h 220"/>
                <a:gd name="T22" fmla="*/ 31 w 400"/>
                <a:gd name="T23" fmla="*/ 175 h 220"/>
                <a:gd name="T24" fmla="*/ 45 w 400"/>
                <a:gd name="T25" fmla="*/ 189 h 220"/>
                <a:gd name="T26" fmla="*/ 312 w 400"/>
                <a:gd name="T27" fmla="*/ 189 h 220"/>
                <a:gd name="T28" fmla="*/ 369 w 400"/>
                <a:gd name="T29" fmla="*/ 132 h 220"/>
                <a:gd name="T30" fmla="*/ 312 w 400"/>
                <a:gd name="T31" fmla="*/ 75 h 220"/>
                <a:gd name="T32" fmla="*/ 272 w 400"/>
                <a:gd name="T33" fmla="*/ 91 h 220"/>
                <a:gd name="T34" fmla="*/ 252 w 400"/>
                <a:gd name="T35" fmla="*/ 110 h 220"/>
                <a:gd name="T36" fmla="*/ 246 w 400"/>
                <a:gd name="T37" fmla="*/ 83 h 220"/>
                <a:gd name="T38" fmla="*/ 183 w 400"/>
                <a:gd name="T39" fmla="*/ 31 h 220"/>
                <a:gd name="T40" fmla="*/ 118 w 400"/>
                <a:gd name="T41" fmla="*/ 96 h 220"/>
                <a:gd name="T42" fmla="*/ 118 w 400"/>
                <a:gd name="T43" fmla="*/ 105 h 220"/>
                <a:gd name="T44" fmla="*/ 121 w 400"/>
                <a:gd name="T45" fmla="*/ 126 h 220"/>
                <a:gd name="T46" fmla="*/ 100 w 400"/>
                <a:gd name="T47" fmla="*/ 122 h 220"/>
                <a:gd name="T48" fmla="*/ 94 w 400"/>
                <a:gd name="T49" fmla="*/ 122 h 220"/>
                <a:gd name="T50" fmla="*/ 61 w 400"/>
                <a:gd name="T51" fmla="*/ 149 h 220"/>
                <a:gd name="T52" fmla="*/ 59 w 400"/>
                <a:gd name="T53" fmla="*/ 162 h 220"/>
                <a:gd name="T54" fmla="*/ 46 w 400"/>
                <a:gd name="T55" fmla="*/ 161 h 220"/>
                <a:gd name="T56" fmla="*/ 45 w 400"/>
                <a:gd name="T57" fmla="*/ 16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moveTo>
                    <a:pt x="45" y="161"/>
                  </a:moveTo>
                  <a:cubicBezTo>
                    <a:pt x="37" y="161"/>
                    <a:pt x="31" y="168"/>
                    <a:pt x="31" y="175"/>
                  </a:cubicBezTo>
                  <a:cubicBezTo>
                    <a:pt x="31" y="183"/>
                    <a:pt x="37" y="189"/>
                    <a:pt x="45" y="189"/>
                  </a:cubicBezTo>
                  <a:cubicBezTo>
                    <a:pt x="312" y="189"/>
                    <a:pt x="312" y="189"/>
                    <a:pt x="312" y="189"/>
                  </a:cubicBezTo>
                  <a:cubicBezTo>
                    <a:pt x="343" y="189"/>
                    <a:pt x="369" y="164"/>
                    <a:pt x="369" y="132"/>
                  </a:cubicBezTo>
                  <a:cubicBezTo>
                    <a:pt x="369" y="101"/>
                    <a:pt x="343" y="75"/>
                    <a:pt x="312" y="75"/>
                  </a:cubicBezTo>
                  <a:cubicBezTo>
                    <a:pt x="297" y="75"/>
                    <a:pt x="283" y="81"/>
                    <a:pt x="272" y="91"/>
                  </a:cubicBezTo>
                  <a:cubicBezTo>
                    <a:pt x="252" y="110"/>
                    <a:pt x="252" y="110"/>
                    <a:pt x="252" y="110"/>
                  </a:cubicBezTo>
                  <a:cubicBezTo>
                    <a:pt x="246" y="83"/>
                    <a:pt x="246" y="83"/>
                    <a:pt x="246" y="83"/>
                  </a:cubicBezTo>
                  <a:cubicBezTo>
                    <a:pt x="240" y="53"/>
                    <a:pt x="214" y="31"/>
                    <a:pt x="183" y="31"/>
                  </a:cubicBezTo>
                  <a:cubicBezTo>
                    <a:pt x="147" y="31"/>
                    <a:pt x="118" y="60"/>
                    <a:pt x="118" y="96"/>
                  </a:cubicBezTo>
                  <a:cubicBezTo>
                    <a:pt x="118" y="99"/>
                    <a:pt x="118" y="102"/>
                    <a:pt x="118" y="105"/>
                  </a:cubicBezTo>
                  <a:cubicBezTo>
                    <a:pt x="121" y="126"/>
                    <a:pt x="121" y="126"/>
                    <a:pt x="121" y="126"/>
                  </a:cubicBezTo>
                  <a:cubicBezTo>
                    <a:pt x="100" y="122"/>
                    <a:pt x="100" y="122"/>
                    <a:pt x="100" y="122"/>
                  </a:cubicBezTo>
                  <a:cubicBezTo>
                    <a:pt x="98" y="122"/>
                    <a:pt x="96" y="122"/>
                    <a:pt x="94" y="122"/>
                  </a:cubicBezTo>
                  <a:cubicBezTo>
                    <a:pt x="78" y="122"/>
                    <a:pt x="65" y="133"/>
                    <a:pt x="61" y="149"/>
                  </a:cubicBezTo>
                  <a:cubicBezTo>
                    <a:pt x="59" y="162"/>
                    <a:pt x="59" y="162"/>
                    <a:pt x="59" y="162"/>
                  </a:cubicBezTo>
                  <a:cubicBezTo>
                    <a:pt x="46" y="161"/>
                    <a:pt x="46" y="161"/>
                    <a:pt x="46" y="161"/>
                  </a:cubicBezTo>
                  <a:cubicBezTo>
                    <a:pt x="45" y="161"/>
                    <a:pt x="45" y="161"/>
                    <a:pt x="45" y="1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p:cNvGrpSpPr/>
          <p:nvPr/>
        </p:nvGrpSpPr>
        <p:grpSpPr>
          <a:xfrm>
            <a:off x="4576576" y="2167641"/>
            <a:ext cx="918992" cy="918992"/>
            <a:chOff x="4576576" y="2167641"/>
            <a:chExt cx="918992" cy="918992"/>
          </a:xfrm>
        </p:grpSpPr>
        <p:sp>
          <p:nvSpPr>
            <p:cNvPr id="111" name="Oval 110"/>
            <p:cNvSpPr/>
            <p:nvPr/>
          </p:nvSpPr>
          <p:spPr bwMode="auto">
            <a:xfrm>
              <a:off x="4576576" y="2167641"/>
              <a:ext cx="918992" cy="918992"/>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Freeform 127"/>
            <p:cNvSpPr>
              <a:spLocks noChangeAspect="1" noEditPoints="1"/>
            </p:cNvSpPr>
            <p:nvPr/>
          </p:nvSpPr>
          <p:spPr bwMode="auto">
            <a:xfrm>
              <a:off x="4808500" y="2449466"/>
              <a:ext cx="464857" cy="358837"/>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4842045" y="4868862"/>
            <a:ext cx="918992" cy="918992"/>
            <a:chOff x="4842045" y="4868862"/>
            <a:chExt cx="918992" cy="918992"/>
          </a:xfrm>
        </p:grpSpPr>
        <p:sp>
          <p:nvSpPr>
            <p:cNvPr id="116" name="Oval 115"/>
            <p:cNvSpPr/>
            <p:nvPr/>
          </p:nvSpPr>
          <p:spPr bwMode="auto">
            <a:xfrm>
              <a:off x="4842045" y="4868862"/>
              <a:ext cx="918992" cy="918992"/>
            </a:xfrm>
            <a:prstGeom prst="ellipse">
              <a:avLst/>
            </a:prstGeom>
            <a:solidFill>
              <a:schemeClr val="bg2"/>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Freeform 5"/>
            <p:cNvSpPr>
              <a:spLocks noChangeAspect="1" noEditPoints="1"/>
            </p:cNvSpPr>
            <p:nvPr/>
          </p:nvSpPr>
          <p:spPr bwMode="auto">
            <a:xfrm>
              <a:off x="5097984" y="5130844"/>
              <a:ext cx="422636" cy="421383"/>
            </a:xfrm>
            <a:custGeom>
              <a:avLst/>
              <a:gdLst>
                <a:gd name="T0" fmla="*/ 425 w 425"/>
                <a:gd name="T1" fmla="*/ 131 h 423"/>
                <a:gd name="T2" fmla="*/ 356 w 425"/>
                <a:gd name="T3" fmla="*/ 131 h 423"/>
                <a:gd name="T4" fmla="*/ 417 w 425"/>
                <a:gd name="T5" fmla="*/ 149 h 423"/>
                <a:gd name="T6" fmla="*/ 425 w 425"/>
                <a:gd name="T7" fmla="*/ 190 h 423"/>
                <a:gd name="T8" fmla="*/ 364 w 425"/>
                <a:gd name="T9" fmla="*/ 172 h 423"/>
                <a:gd name="T10" fmla="*/ 364 w 425"/>
                <a:gd name="T11" fmla="*/ 199 h 423"/>
                <a:gd name="T12" fmla="*/ 417 w 425"/>
                <a:gd name="T13" fmla="*/ 249 h 423"/>
                <a:gd name="T14" fmla="*/ 417 w 425"/>
                <a:gd name="T15" fmla="*/ 223 h 423"/>
                <a:gd name="T16" fmla="*/ 356 w 425"/>
                <a:gd name="T17" fmla="*/ 241 h 423"/>
                <a:gd name="T18" fmla="*/ 417 w 425"/>
                <a:gd name="T19" fmla="*/ 249 h 423"/>
                <a:gd name="T20" fmla="*/ 425 w 425"/>
                <a:gd name="T21" fmla="*/ 281 h 423"/>
                <a:gd name="T22" fmla="*/ 356 w 425"/>
                <a:gd name="T23" fmla="*/ 281 h 423"/>
                <a:gd name="T24" fmla="*/ 417 w 425"/>
                <a:gd name="T25" fmla="*/ 299 h 423"/>
                <a:gd name="T26" fmla="*/ 141 w 425"/>
                <a:gd name="T27" fmla="*/ 0 h 423"/>
                <a:gd name="T28" fmla="*/ 123 w 425"/>
                <a:gd name="T29" fmla="*/ 61 h 423"/>
                <a:gd name="T30" fmla="*/ 150 w 425"/>
                <a:gd name="T31" fmla="*/ 61 h 423"/>
                <a:gd name="T32" fmla="*/ 200 w 425"/>
                <a:gd name="T33" fmla="*/ 8 h 423"/>
                <a:gd name="T34" fmla="*/ 174 w 425"/>
                <a:gd name="T35" fmla="*/ 8 h 423"/>
                <a:gd name="T36" fmla="*/ 192 w 425"/>
                <a:gd name="T37" fmla="*/ 69 h 423"/>
                <a:gd name="T38" fmla="*/ 200 w 425"/>
                <a:gd name="T39" fmla="*/ 8 h 423"/>
                <a:gd name="T40" fmla="*/ 233 w 425"/>
                <a:gd name="T41" fmla="*/ 0 h 423"/>
                <a:gd name="T42" fmla="*/ 233 w 425"/>
                <a:gd name="T43" fmla="*/ 69 h 423"/>
                <a:gd name="T44" fmla="*/ 250 w 425"/>
                <a:gd name="T45" fmla="*/ 8 h 423"/>
                <a:gd name="T46" fmla="*/ 292 w 425"/>
                <a:gd name="T47" fmla="*/ 0 h 423"/>
                <a:gd name="T48" fmla="*/ 274 w 425"/>
                <a:gd name="T49" fmla="*/ 61 h 423"/>
                <a:gd name="T50" fmla="*/ 300 w 425"/>
                <a:gd name="T51" fmla="*/ 61 h 423"/>
                <a:gd name="T52" fmla="*/ 61 w 425"/>
                <a:gd name="T53" fmla="*/ 149 h 423"/>
                <a:gd name="T54" fmla="*/ 61 w 425"/>
                <a:gd name="T55" fmla="*/ 122 h 423"/>
                <a:gd name="T56" fmla="*/ 0 w 425"/>
                <a:gd name="T57" fmla="*/ 140 h 423"/>
                <a:gd name="T58" fmla="*/ 61 w 425"/>
                <a:gd name="T59" fmla="*/ 149 h 423"/>
                <a:gd name="T60" fmla="*/ 69 w 425"/>
                <a:gd name="T61" fmla="*/ 181 h 423"/>
                <a:gd name="T62" fmla="*/ 0 w 425"/>
                <a:gd name="T63" fmla="*/ 181 h 423"/>
                <a:gd name="T64" fmla="*/ 61 w 425"/>
                <a:gd name="T65" fmla="*/ 199 h 423"/>
                <a:gd name="T66" fmla="*/ 69 w 425"/>
                <a:gd name="T67" fmla="*/ 241 h 423"/>
                <a:gd name="T68" fmla="*/ 8 w 425"/>
                <a:gd name="T69" fmla="*/ 223 h 423"/>
                <a:gd name="T70" fmla="*/ 8 w 425"/>
                <a:gd name="T71" fmla="*/ 249 h 423"/>
                <a:gd name="T72" fmla="*/ 61 w 425"/>
                <a:gd name="T73" fmla="*/ 299 h 423"/>
                <a:gd name="T74" fmla="*/ 61 w 425"/>
                <a:gd name="T75" fmla="*/ 273 h 423"/>
                <a:gd name="T76" fmla="*/ 0 w 425"/>
                <a:gd name="T77" fmla="*/ 291 h 423"/>
                <a:gd name="T78" fmla="*/ 61 w 425"/>
                <a:gd name="T79" fmla="*/ 299 h 423"/>
                <a:gd name="T80" fmla="*/ 132 w 425"/>
                <a:gd name="T81" fmla="*/ 354 h 423"/>
                <a:gd name="T82" fmla="*/ 132 w 425"/>
                <a:gd name="T83" fmla="*/ 423 h 423"/>
                <a:gd name="T84" fmla="*/ 150 w 425"/>
                <a:gd name="T85" fmla="*/ 362 h 423"/>
                <a:gd name="T86" fmla="*/ 192 w 425"/>
                <a:gd name="T87" fmla="*/ 354 h 423"/>
                <a:gd name="T88" fmla="*/ 174 w 425"/>
                <a:gd name="T89" fmla="*/ 414 h 423"/>
                <a:gd name="T90" fmla="*/ 200 w 425"/>
                <a:gd name="T91" fmla="*/ 414 h 423"/>
                <a:gd name="T92" fmla="*/ 250 w 425"/>
                <a:gd name="T93" fmla="*/ 362 h 423"/>
                <a:gd name="T94" fmla="*/ 224 w 425"/>
                <a:gd name="T95" fmla="*/ 362 h 423"/>
                <a:gd name="T96" fmla="*/ 242 w 425"/>
                <a:gd name="T97" fmla="*/ 423 h 423"/>
                <a:gd name="T98" fmla="*/ 250 w 425"/>
                <a:gd name="T99" fmla="*/ 362 h 423"/>
                <a:gd name="T100" fmla="*/ 282 w 425"/>
                <a:gd name="T101" fmla="*/ 354 h 423"/>
                <a:gd name="T102" fmla="*/ 282 w 425"/>
                <a:gd name="T103" fmla="*/ 423 h 423"/>
                <a:gd name="T104" fmla="*/ 300 w 425"/>
                <a:gd name="T105" fmla="*/ 362 h 423"/>
                <a:gd name="T106" fmla="*/ 87 w 425"/>
                <a:gd name="T107" fmla="*/ 78 h 423"/>
                <a:gd name="T108" fmla="*/ 87 w 425"/>
                <a:gd name="T109" fmla="*/ 344 h 423"/>
                <a:gd name="T110" fmla="*/ 345 w 425"/>
                <a:gd name="T111" fmla="*/ 86 h 423"/>
                <a:gd name="T112" fmla="*/ 102 w 425"/>
                <a:gd name="T113" fmla="*/ 121 h 423"/>
                <a:gd name="T114" fmla="*/ 121 w 425"/>
                <a:gd name="T115" fmla="*/ 14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5" h="423">
                  <a:moveTo>
                    <a:pt x="417" y="149"/>
                  </a:moveTo>
                  <a:cubicBezTo>
                    <a:pt x="422" y="149"/>
                    <a:pt x="425" y="145"/>
                    <a:pt x="425" y="140"/>
                  </a:cubicBezTo>
                  <a:cubicBezTo>
                    <a:pt x="425" y="131"/>
                    <a:pt x="425" y="131"/>
                    <a:pt x="425" y="131"/>
                  </a:cubicBezTo>
                  <a:cubicBezTo>
                    <a:pt x="425" y="126"/>
                    <a:pt x="422" y="122"/>
                    <a:pt x="417" y="122"/>
                  </a:cubicBezTo>
                  <a:cubicBezTo>
                    <a:pt x="364" y="122"/>
                    <a:pt x="364" y="122"/>
                    <a:pt x="364" y="122"/>
                  </a:cubicBezTo>
                  <a:cubicBezTo>
                    <a:pt x="360" y="122"/>
                    <a:pt x="356" y="126"/>
                    <a:pt x="356" y="131"/>
                  </a:cubicBezTo>
                  <a:cubicBezTo>
                    <a:pt x="356" y="140"/>
                    <a:pt x="356" y="140"/>
                    <a:pt x="356" y="140"/>
                  </a:cubicBezTo>
                  <a:cubicBezTo>
                    <a:pt x="356" y="145"/>
                    <a:pt x="360" y="149"/>
                    <a:pt x="364" y="149"/>
                  </a:cubicBezTo>
                  <a:cubicBezTo>
                    <a:pt x="417" y="149"/>
                    <a:pt x="417" y="149"/>
                    <a:pt x="417" y="149"/>
                  </a:cubicBezTo>
                  <a:cubicBezTo>
                    <a:pt x="417" y="149"/>
                    <a:pt x="417" y="149"/>
                    <a:pt x="417" y="149"/>
                  </a:cubicBezTo>
                  <a:close/>
                  <a:moveTo>
                    <a:pt x="417" y="199"/>
                  </a:moveTo>
                  <a:cubicBezTo>
                    <a:pt x="422" y="199"/>
                    <a:pt x="425" y="195"/>
                    <a:pt x="425" y="190"/>
                  </a:cubicBezTo>
                  <a:cubicBezTo>
                    <a:pt x="425" y="181"/>
                    <a:pt x="425" y="181"/>
                    <a:pt x="425" y="181"/>
                  </a:cubicBezTo>
                  <a:cubicBezTo>
                    <a:pt x="425" y="176"/>
                    <a:pt x="422" y="172"/>
                    <a:pt x="417" y="172"/>
                  </a:cubicBezTo>
                  <a:cubicBezTo>
                    <a:pt x="364" y="172"/>
                    <a:pt x="364" y="172"/>
                    <a:pt x="364" y="172"/>
                  </a:cubicBezTo>
                  <a:cubicBezTo>
                    <a:pt x="360" y="172"/>
                    <a:pt x="356" y="176"/>
                    <a:pt x="356" y="181"/>
                  </a:cubicBezTo>
                  <a:cubicBezTo>
                    <a:pt x="356" y="190"/>
                    <a:pt x="356" y="190"/>
                    <a:pt x="356" y="190"/>
                  </a:cubicBezTo>
                  <a:cubicBezTo>
                    <a:pt x="356" y="195"/>
                    <a:pt x="360" y="199"/>
                    <a:pt x="364" y="199"/>
                  </a:cubicBezTo>
                  <a:cubicBezTo>
                    <a:pt x="417" y="199"/>
                    <a:pt x="417" y="199"/>
                    <a:pt x="417" y="199"/>
                  </a:cubicBezTo>
                  <a:cubicBezTo>
                    <a:pt x="417" y="199"/>
                    <a:pt x="417" y="199"/>
                    <a:pt x="417" y="199"/>
                  </a:cubicBezTo>
                  <a:close/>
                  <a:moveTo>
                    <a:pt x="417" y="249"/>
                  </a:moveTo>
                  <a:cubicBezTo>
                    <a:pt x="422" y="249"/>
                    <a:pt x="425" y="246"/>
                    <a:pt x="425" y="241"/>
                  </a:cubicBezTo>
                  <a:cubicBezTo>
                    <a:pt x="425" y="232"/>
                    <a:pt x="425" y="232"/>
                    <a:pt x="425" y="232"/>
                  </a:cubicBezTo>
                  <a:cubicBezTo>
                    <a:pt x="425" y="227"/>
                    <a:pt x="422" y="223"/>
                    <a:pt x="417" y="223"/>
                  </a:cubicBezTo>
                  <a:cubicBezTo>
                    <a:pt x="364" y="223"/>
                    <a:pt x="364" y="223"/>
                    <a:pt x="364" y="223"/>
                  </a:cubicBezTo>
                  <a:cubicBezTo>
                    <a:pt x="360" y="223"/>
                    <a:pt x="356" y="227"/>
                    <a:pt x="356" y="232"/>
                  </a:cubicBezTo>
                  <a:cubicBezTo>
                    <a:pt x="356" y="241"/>
                    <a:pt x="356" y="241"/>
                    <a:pt x="356" y="241"/>
                  </a:cubicBezTo>
                  <a:cubicBezTo>
                    <a:pt x="356" y="246"/>
                    <a:pt x="360" y="249"/>
                    <a:pt x="364" y="249"/>
                  </a:cubicBezTo>
                  <a:cubicBezTo>
                    <a:pt x="417" y="249"/>
                    <a:pt x="417" y="249"/>
                    <a:pt x="417" y="249"/>
                  </a:cubicBezTo>
                  <a:cubicBezTo>
                    <a:pt x="417" y="249"/>
                    <a:pt x="417" y="249"/>
                    <a:pt x="417" y="249"/>
                  </a:cubicBezTo>
                  <a:close/>
                  <a:moveTo>
                    <a:pt x="417" y="299"/>
                  </a:moveTo>
                  <a:cubicBezTo>
                    <a:pt x="422" y="299"/>
                    <a:pt x="425" y="295"/>
                    <a:pt x="425" y="291"/>
                  </a:cubicBezTo>
                  <a:cubicBezTo>
                    <a:pt x="425" y="281"/>
                    <a:pt x="425" y="281"/>
                    <a:pt x="425" y="281"/>
                  </a:cubicBezTo>
                  <a:cubicBezTo>
                    <a:pt x="425" y="277"/>
                    <a:pt x="422" y="273"/>
                    <a:pt x="417" y="273"/>
                  </a:cubicBezTo>
                  <a:cubicBezTo>
                    <a:pt x="364" y="273"/>
                    <a:pt x="364" y="273"/>
                    <a:pt x="364" y="273"/>
                  </a:cubicBezTo>
                  <a:cubicBezTo>
                    <a:pt x="360" y="273"/>
                    <a:pt x="356" y="277"/>
                    <a:pt x="356" y="281"/>
                  </a:cubicBezTo>
                  <a:cubicBezTo>
                    <a:pt x="356" y="291"/>
                    <a:pt x="356" y="291"/>
                    <a:pt x="356" y="291"/>
                  </a:cubicBezTo>
                  <a:cubicBezTo>
                    <a:pt x="356" y="295"/>
                    <a:pt x="360" y="299"/>
                    <a:pt x="364" y="299"/>
                  </a:cubicBezTo>
                  <a:cubicBezTo>
                    <a:pt x="417" y="299"/>
                    <a:pt x="417" y="299"/>
                    <a:pt x="417" y="299"/>
                  </a:cubicBezTo>
                  <a:cubicBezTo>
                    <a:pt x="417" y="299"/>
                    <a:pt x="417" y="299"/>
                    <a:pt x="417" y="299"/>
                  </a:cubicBezTo>
                  <a:close/>
                  <a:moveTo>
                    <a:pt x="150" y="8"/>
                  </a:moveTo>
                  <a:cubicBezTo>
                    <a:pt x="150" y="4"/>
                    <a:pt x="146" y="0"/>
                    <a:pt x="141" y="0"/>
                  </a:cubicBezTo>
                  <a:cubicBezTo>
                    <a:pt x="132" y="0"/>
                    <a:pt x="132" y="0"/>
                    <a:pt x="132" y="0"/>
                  </a:cubicBezTo>
                  <a:cubicBezTo>
                    <a:pt x="127" y="0"/>
                    <a:pt x="123" y="4"/>
                    <a:pt x="123" y="8"/>
                  </a:cubicBezTo>
                  <a:cubicBezTo>
                    <a:pt x="123" y="61"/>
                    <a:pt x="123" y="61"/>
                    <a:pt x="123" y="61"/>
                  </a:cubicBezTo>
                  <a:cubicBezTo>
                    <a:pt x="123" y="66"/>
                    <a:pt x="127" y="69"/>
                    <a:pt x="132" y="69"/>
                  </a:cubicBezTo>
                  <a:cubicBezTo>
                    <a:pt x="141" y="69"/>
                    <a:pt x="141" y="69"/>
                    <a:pt x="141" y="69"/>
                  </a:cubicBezTo>
                  <a:cubicBezTo>
                    <a:pt x="146" y="69"/>
                    <a:pt x="150" y="66"/>
                    <a:pt x="150" y="61"/>
                  </a:cubicBezTo>
                  <a:cubicBezTo>
                    <a:pt x="150" y="8"/>
                    <a:pt x="150" y="8"/>
                    <a:pt x="150" y="8"/>
                  </a:cubicBezTo>
                  <a:cubicBezTo>
                    <a:pt x="150" y="8"/>
                    <a:pt x="150" y="8"/>
                    <a:pt x="150" y="8"/>
                  </a:cubicBezTo>
                  <a:close/>
                  <a:moveTo>
                    <a:pt x="200" y="8"/>
                  </a:moveTo>
                  <a:cubicBezTo>
                    <a:pt x="200" y="4"/>
                    <a:pt x="196" y="0"/>
                    <a:pt x="192" y="0"/>
                  </a:cubicBezTo>
                  <a:cubicBezTo>
                    <a:pt x="182" y="0"/>
                    <a:pt x="182" y="0"/>
                    <a:pt x="182" y="0"/>
                  </a:cubicBezTo>
                  <a:cubicBezTo>
                    <a:pt x="177" y="0"/>
                    <a:pt x="174" y="4"/>
                    <a:pt x="174" y="8"/>
                  </a:cubicBezTo>
                  <a:cubicBezTo>
                    <a:pt x="174" y="61"/>
                    <a:pt x="174" y="61"/>
                    <a:pt x="174" y="61"/>
                  </a:cubicBezTo>
                  <a:cubicBezTo>
                    <a:pt x="174" y="66"/>
                    <a:pt x="177" y="69"/>
                    <a:pt x="182" y="69"/>
                  </a:cubicBezTo>
                  <a:cubicBezTo>
                    <a:pt x="192" y="69"/>
                    <a:pt x="192" y="69"/>
                    <a:pt x="192" y="69"/>
                  </a:cubicBezTo>
                  <a:cubicBezTo>
                    <a:pt x="196" y="69"/>
                    <a:pt x="200" y="66"/>
                    <a:pt x="200" y="61"/>
                  </a:cubicBezTo>
                  <a:cubicBezTo>
                    <a:pt x="200" y="8"/>
                    <a:pt x="200" y="8"/>
                    <a:pt x="200" y="8"/>
                  </a:cubicBezTo>
                  <a:cubicBezTo>
                    <a:pt x="200" y="8"/>
                    <a:pt x="200" y="8"/>
                    <a:pt x="200" y="8"/>
                  </a:cubicBezTo>
                  <a:close/>
                  <a:moveTo>
                    <a:pt x="250" y="8"/>
                  </a:moveTo>
                  <a:cubicBezTo>
                    <a:pt x="250" y="4"/>
                    <a:pt x="247" y="0"/>
                    <a:pt x="242" y="0"/>
                  </a:cubicBezTo>
                  <a:cubicBezTo>
                    <a:pt x="233" y="0"/>
                    <a:pt x="233" y="0"/>
                    <a:pt x="233" y="0"/>
                  </a:cubicBezTo>
                  <a:cubicBezTo>
                    <a:pt x="228" y="0"/>
                    <a:pt x="224" y="4"/>
                    <a:pt x="224" y="8"/>
                  </a:cubicBezTo>
                  <a:cubicBezTo>
                    <a:pt x="224" y="61"/>
                    <a:pt x="224" y="61"/>
                    <a:pt x="224" y="61"/>
                  </a:cubicBezTo>
                  <a:cubicBezTo>
                    <a:pt x="224" y="66"/>
                    <a:pt x="228" y="69"/>
                    <a:pt x="233" y="69"/>
                  </a:cubicBezTo>
                  <a:cubicBezTo>
                    <a:pt x="242" y="69"/>
                    <a:pt x="242" y="69"/>
                    <a:pt x="242" y="69"/>
                  </a:cubicBezTo>
                  <a:cubicBezTo>
                    <a:pt x="247" y="69"/>
                    <a:pt x="250" y="66"/>
                    <a:pt x="250" y="61"/>
                  </a:cubicBezTo>
                  <a:cubicBezTo>
                    <a:pt x="250" y="8"/>
                    <a:pt x="250" y="8"/>
                    <a:pt x="250" y="8"/>
                  </a:cubicBezTo>
                  <a:cubicBezTo>
                    <a:pt x="250" y="8"/>
                    <a:pt x="250" y="8"/>
                    <a:pt x="250" y="8"/>
                  </a:cubicBezTo>
                  <a:close/>
                  <a:moveTo>
                    <a:pt x="300" y="8"/>
                  </a:moveTo>
                  <a:cubicBezTo>
                    <a:pt x="300" y="4"/>
                    <a:pt x="297" y="0"/>
                    <a:pt x="292" y="0"/>
                  </a:cubicBezTo>
                  <a:cubicBezTo>
                    <a:pt x="282" y="0"/>
                    <a:pt x="282" y="0"/>
                    <a:pt x="282" y="0"/>
                  </a:cubicBezTo>
                  <a:cubicBezTo>
                    <a:pt x="278" y="0"/>
                    <a:pt x="274" y="4"/>
                    <a:pt x="274" y="8"/>
                  </a:cubicBezTo>
                  <a:cubicBezTo>
                    <a:pt x="274" y="61"/>
                    <a:pt x="274" y="61"/>
                    <a:pt x="274" y="61"/>
                  </a:cubicBezTo>
                  <a:cubicBezTo>
                    <a:pt x="274" y="66"/>
                    <a:pt x="278" y="69"/>
                    <a:pt x="282" y="69"/>
                  </a:cubicBezTo>
                  <a:cubicBezTo>
                    <a:pt x="292" y="69"/>
                    <a:pt x="292" y="69"/>
                    <a:pt x="292" y="69"/>
                  </a:cubicBezTo>
                  <a:cubicBezTo>
                    <a:pt x="297" y="69"/>
                    <a:pt x="300" y="66"/>
                    <a:pt x="300" y="61"/>
                  </a:cubicBezTo>
                  <a:cubicBezTo>
                    <a:pt x="300" y="8"/>
                    <a:pt x="300" y="8"/>
                    <a:pt x="300" y="8"/>
                  </a:cubicBezTo>
                  <a:cubicBezTo>
                    <a:pt x="300" y="8"/>
                    <a:pt x="300" y="8"/>
                    <a:pt x="300" y="8"/>
                  </a:cubicBezTo>
                  <a:close/>
                  <a:moveTo>
                    <a:pt x="61" y="149"/>
                  </a:moveTo>
                  <a:cubicBezTo>
                    <a:pt x="66" y="149"/>
                    <a:pt x="69" y="145"/>
                    <a:pt x="69" y="140"/>
                  </a:cubicBezTo>
                  <a:cubicBezTo>
                    <a:pt x="69" y="131"/>
                    <a:pt x="69" y="131"/>
                    <a:pt x="69" y="131"/>
                  </a:cubicBezTo>
                  <a:cubicBezTo>
                    <a:pt x="69" y="126"/>
                    <a:pt x="66" y="122"/>
                    <a:pt x="61" y="122"/>
                  </a:cubicBezTo>
                  <a:cubicBezTo>
                    <a:pt x="8" y="122"/>
                    <a:pt x="8" y="122"/>
                    <a:pt x="8" y="122"/>
                  </a:cubicBezTo>
                  <a:cubicBezTo>
                    <a:pt x="4" y="122"/>
                    <a:pt x="0" y="126"/>
                    <a:pt x="0" y="131"/>
                  </a:cubicBezTo>
                  <a:cubicBezTo>
                    <a:pt x="0" y="140"/>
                    <a:pt x="0" y="140"/>
                    <a:pt x="0" y="140"/>
                  </a:cubicBezTo>
                  <a:cubicBezTo>
                    <a:pt x="0" y="145"/>
                    <a:pt x="4" y="149"/>
                    <a:pt x="8" y="149"/>
                  </a:cubicBezTo>
                  <a:cubicBezTo>
                    <a:pt x="61" y="149"/>
                    <a:pt x="61" y="149"/>
                    <a:pt x="61" y="149"/>
                  </a:cubicBezTo>
                  <a:cubicBezTo>
                    <a:pt x="61" y="149"/>
                    <a:pt x="61" y="149"/>
                    <a:pt x="61" y="149"/>
                  </a:cubicBezTo>
                  <a:close/>
                  <a:moveTo>
                    <a:pt x="61" y="199"/>
                  </a:moveTo>
                  <a:cubicBezTo>
                    <a:pt x="66" y="199"/>
                    <a:pt x="69" y="195"/>
                    <a:pt x="69" y="190"/>
                  </a:cubicBezTo>
                  <a:cubicBezTo>
                    <a:pt x="69" y="181"/>
                    <a:pt x="69" y="181"/>
                    <a:pt x="69" y="181"/>
                  </a:cubicBezTo>
                  <a:cubicBezTo>
                    <a:pt x="69" y="176"/>
                    <a:pt x="66" y="172"/>
                    <a:pt x="61" y="172"/>
                  </a:cubicBezTo>
                  <a:cubicBezTo>
                    <a:pt x="8" y="172"/>
                    <a:pt x="8" y="172"/>
                    <a:pt x="8" y="172"/>
                  </a:cubicBezTo>
                  <a:cubicBezTo>
                    <a:pt x="4" y="172"/>
                    <a:pt x="0" y="176"/>
                    <a:pt x="0" y="181"/>
                  </a:cubicBezTo>
                  <a:cubicBezTo>
                    <a:pt x="0" y="190"/>
                    <a:pt x="0" y="190"/>
                    <a:pt x="0" y="190"/>
                  </a:cubicBezTo>
                  <a:cubicBezTo>
                    <a:pt x="0" y="195"/>
                    <a:pt x="4" y="199"/>
                    <a:pt x="8" y="199"/>
                  </a:cubicBezTo>
                  <a:cubicBezTo>
                    <a:pt x="61" y="199"/>
                    <a:pt x="61" y="199"/>
                    <a:pt x="61" y="199"/>
                  </a:cubicBezTo>
                  <a:cubicBezTo>
                    <a:pt x="61" y="199"/>
                    <a:pt x="61" y="199"/>
                    <a:pt x="61" y="199"/>
                  </a:cubicBezTo>
                  <a:close/>
                  <a:moveTo>
                    <a:pt x="61" y="249"/>
                  </a:moveTo>
                  <a:cubicBezTo>
                    <a:pt x="66" y="249"/>
                    <a:pt x="69" y="246"/>
                    <a:pt x="69" y="241"/>
                  </a:cubicBezTo>
                  <a:cubicBezTo>
                    <a:pt x="69" y="232"/>
                    <a:pt x="69" y="232"/>
                    <a:pt x="69" y="232"/>
                  </a:cubicBezTo>
                  <a:cubicBezTo>
                    <a:pt x="69" y="227"/>
                    <a:pt x="66" y="223"/>
                    <a:pt x="61" y="223"/>
                  </a:cubicBezTo>
                  <a:cubicBezTo>
                    <a:pt x="8" y="223"/>
                    <a:pt x="8" y="223"/>
                    <a:pt x="8" y="223"/>
                  </a:cubicBezTo>
                  <a:cubicBezTo>
                    <a:pt x="4" y="223"/>
                    <a:pt x="0" y="227"/>
                    <a:pt x="0" y="232"/>
                  </a:cubicBezTo>
                  <a:cubicBezTo>
                    <a:pt x="0" y="241"/>
                    <a:pt x="0" y="241"/>
                    <a:pt x="0" y="241"/>
                  </a:cubicBezTo>
                  <a:cubicBezTo>
                    <a:pt x="0" y="246"/>
                    <a:pt x="4" y="249"/>
                    <a:pt x="8" y="249"/>
                  </a:cubicBezTo>
                  <a:cubicBezTo>
                    <a:pt x="61" y="249"/>
                    <a:pt x="61" y="249"/>
                    <a:pt x="61" y="249"/>
                  </a:cubicBezTo>
                  <a:cubicBezTo>
                    <a:pt x="61" y="249"/>
                    <a:pt x="61" y="249"/>
                    <a:pt x="61" y="249"/>
                  </a:cubicBezTo>
                  <a:close/>
                  <a:moveTo>
                    <a:pt x="61" y="299"/>
                  </a:moveTo>
                  <a:cubicBezTo>
                    <a:pt x="66" y="299"/>
                    <a:pt x="69" y="295"/>
                    <a:pt x="69" y="291"/>
                  </a:cubicBezTo>
                  <a:cubicBezTo>
                    <a:pt x="69" y="281"/>
                    <a:pt x="69" y="281"/>
                    <a:pt x="69" y="281"/>
                  </a:cubicBezTo>
                  <a:cubicBezTo>
                    <a:pt x="69" y="277"/>
                    <a:pt x="66" y="273"/>
                    <a:pt x="61" y="273"/>
                  </a:cubicBezTo>
                  <a:cubicBezTo>
                    <a:pt x="8" y="273"/>
                    <a:pt x="8" y="273"/>
                    <a:pt x="8" y="273"/>
                  </a:cubicBezTo>
                  <a:cubicBezTo>
                    <a:pt x="4" y="273"/>
                    <a:pt x="0" y="277"/>
                    <a:pt x="0" y="281"/>
                  </a:cubicBezTo>
                  <a:cubicBezTo>
                    <a:pt x="0" y="291"/>
                    <a:pt x="0" y="291"/>
                    <a:pt x="0" y="291"/>
                  </a:cubicBezTo>
                  <a:cubicBezTo>
                    <a:pt x="0" y="295"/>
                    <a:pt x="4" y="299"/>
                    <a:pt x="8" y="299"/>
                  </a:cubicBezTo>
                  <a:cubicBezTo>
                    <a:pt x="61" y="299"/>
                    <a:pt x="61" y="299"/>
                    <a:pt x="61" y="299"/>
                  </a:cubicBezTo>
                  <a:cubicBezTo>
                    <a:pt x="61" y="299"/>
                    <a:pt x="61" y="299"/>
                    <a:pt x="61" y="299"/>
                  </a:cubicBezTo>
                  <a:close/>
                  <a:moveTo>
                    <a:pt x="150" y="362"/>
                  </a:moveTo>
                  <a:cubicBezTo>
                    <a:pt x="150" y="357"/>
                    <a:pt x="146" y="354"/>
                    <a:pt x="141" y="354"/>
                  </a:cubicBezTo>
                  <a:cubicBezTo>
                    <a:pt x="132" y="354"/>
                    <a:pt x="132" y="354"/>
                    <a:pt x="132" y="354"/>
                  </a:cubicBezTo>
                  <a:cubicBezTo>
                    <a:pt x="127" y="354"/>
                    <a:pt x="123" y="357"/>
                    <a:pt x="123" y="362"/>
                  </a:cubicBezTo>
                  <a:cubicBezTo>
                    <a:pt x="123" y="414"/>
                    <a:pt x="123" y="414"/>
                    <a:pt x="123" y="414"/>
                  </a:cubicBezTo>
                  <a:cubicBezTo>
                    <a:pt x="123" y="419"/>
                    <a:pt x="127" y="423"/>
                    <a:pt x="132" y="423"/>
                  </a:cubicBezTo>
                  <a:cubicBezTo>
                    <a:pt x="141" y="423"/>
                    <a:pt x="141" y="423"/>
                    <a:pt x="141" y="423"/>
                  </a:cubicBezTo>
                  <a:cubicBezTo>
                    <a:pt x="146" y="423"/>
                    <a:pt x="150" y="419"/>
                    <a:pt x="150" y="414"/>
                  </a:cubicBezTo>
                  <a:cubicBezTo>
                    <a:pt x="150" y="362"/>
                    <a:pt x="150" y="362"/>
                    <a:pt x="150" y="362"/>
                  </a:cubicBezTo>
                  <a:cubicBezTo>
                    <a:pt x="150" y="362"/>
                    <a:pt x="150" y="362"/>
                    <a:pt x="150" y="362"/>
                  </a:cubicBezTo>
                  <a:close/>
                  <a:moveTo>
                    <a:pt x="200" y="362"/>
                  </a:moveTo>
                  <a:cubicBezTo>
                    <a:pt x="200" y="357"/>
                    <a:pt x="196" y="354"/>
                    <a:pt x="192" y="354"/>
                  </a:cubicBezTo>
                  <a:cubicBezTo>
                    <a:pt x="182" y="354"/>
                    <a:pt x="182" y="354"/>
                    <a:pt x="182" y="354"/>
                  </a:cubicBezTo>
                  <a:cubicBezTo>
                    <a:pt x="177" y="354"/>
                    <a:pt x="174" y="357"/>
                    <a:pt x="174" y="362"/>
                  </a:cubicBezTo>
                  <a:cubicBezTo>
                    <a:pt x="174" y="414"/>
                    <a:pt x="174" y="414"/>
                    <a:pt x="174" y="414"/>
                  </a:cubicBezTo>
                  <a:cubicBezTo>
                    <a:pt x="174" y="419"/>
                    <a:pt x="177" y="423"/>
                    <a:pt x="182" y="423"/>
                  </a:cubicBezTo>
                  <a:cubicBezTo>
                    <a:pt x="192" y="423"/>
                    <a:pt x="192" y="423"/>
                    <a:pt x="192" y="423"/>
                  </a:cubicBezTo>
                  <a:cubicBezTo>
                    <a:pt x="196" y="423"/>
                    <a:pt x="200" y="419"/>
                    <a:pt x="200" y="414"/>
                  </a:cubicBezTo>
                  <a:cubicBezTo>
                    <a:pt x="200" y="362"/>
                    <a:pt x="200" y="362"/>
                    <a:pt x="200" y="362"/>
                  </a:cubicBezTo>
                  <a:cubicBezTo>
                    <a:pt x="200" y="362"/>
                    <a:pt x="200" y="362"/>
                    <a:pt x="200" y="362"/>
                  </a:cubicBezTo>
                  <a:close/>
                  <a:moveTo>
                    <a:pt x="250" y="362"/>
                  </a:moveTo>
                  <a:cubicBezTo>
                    <a:pt x="250" y="357"/>
                    <a:pt x="247" y="354"/>
                    <a:pt x="242" y="354"/>
                  </a:cubicBezTo>
                  <a:cubicBezTo>
                    <a:pt x="233" y="354"/>
                    <a:pt x="233" y="354"/>
                    <a:pt x="233" y="354"/>
                  </a:cubicBezTo>
                  <a:cubicBezTo>
                    <a:pt x="228" y="354"/>
                    <a:pt x="224" y="357"/>
                    <a:pt x="224" y="362"/>
                  </a:cubicBezTo>
                  <a:cubicBezTo>
                    <a:pt x="224" y="414"/>
                    <a:pt x="224" y="414"/>
                    <a:pt x="224" y="414"/>
                  </a:cubicBezTo>
                  <a:cubicBezTo>
                    <a:pt x="224" y="419"/>
                    <a:pt x="228" y="423"/>
                    <a:pt x="233" y="423"/>
                  </a:cubicBezTo>
                  <a:cubicBezTo>
                    <a:pt x="242" y="423"/>
                    <a:pt x="242" y="423"/>
                    <a:pt x="242" y="423"/>
                  </a:cubicBezTo>
                  <a:cubicBezTo>
                    <a:pt x="247" y="423"/>
                    <a:pt x="250" y="419"/>
                    <a:pt x="250" y="414"/>
                  </a:cubicBezTo>
                  <a:cubicBezTo>
                    <a:pt x="250" y="362"/>
                    <a:pt x="250" y="362"/>
                    <a:pt x="250" y="362"/>
                  </a:cubicBezTo>
                  <a:cubicBezTo>
                    <a:pt x="250" y="362"/>
                    <a:pt x="250" y="362"/>
                    <a:pt x="250" y="362"/>
                  </a:cubicBezTo>
                  <a:close/>
                  <a:moveTo>
                    <a:pt x="300" y="362"/>
                  </a:moveTo>
                  <a:cubicBezTo>
                    <a:pt x="300" y="357"/>
                    <a:pt x="297" y="354"/>
                    <a:pt x="292" y="354"/>
                  </a:cubicBezTo>
                  <a:cubicBezTo>
                    <a:pt x="282" y="354"/>
                    <a:pt x="282" y="354"/>
                    <a:pt x="282" y="354"/>
                  </a:cubicBezTo>
                  <a:cubicBezTo>
                    <a:pt x="278" y="354"/>
                    <a:pt x="274" y="357"/>
                    <a:pt x="274" y="362"/>
                  </a:cubicBezTo>
                  <a:cubicBezTo>
                    <a:pt x="274" y="414"/>
                    <a:pt x="274" y="414"/>
                    <a:pt x="274" y="414"/>
                  </a:cubicBezTo>
                  <a:cubicBezTo>
                    <a:pt x="274" y="419"/>
                    <a:pt x="278" y="423"/>
                    <a:pt x="282" y="423"/>
                  </a:cubicBezTo>
                  <a:cubicBezTo>
                    <a:pt x="292" y="423"/>
                    <a:pt x="292" y="423"/>
                    <a:pt x="292" y="423"/>
                  </a:cubicBezTo>
                  <a:cubicBezTo>
                    <a:pt x="297" y="423"/>
                    <a:pt x="300" y="419"/>
                    <a:pt x="300" y="414"/>
                  </a:cubicBezTo>
                  <a:cubicBezTo>
                    <a:pt x="300" y="362"/>
                    <a:pt x="300" y="362"/>
                    <a:pt x="300" y="362"/>
                  </a:cubicBezTo>
                  <a:cubicBezTo>
                    <a:pt x="300" y="362"/>
                    <a:pt x="300" y="362"/>
                    <a:pt x="300" y="362"/>
                  </a:cubicBezTo>
                  <a:close/>
                  <a:moveTo>
                    <a:pt x="337" y="78"/>
                  </a:moveTo>
                  <a:cubicBezTo>
                    <a:pt x="337" y="78"/>
                    <a:pt x="337" y="78"/>
                    <a:pt x="87" y="78"/>
                  </a:cubicBezTo>
                  <a:cubicBezTo>
                    <a:pt x="82" y="78"/>
                    <a:pt x="78" y="81"/>
                    <a:pt x="78" y="86"/>
                  </a:cubicBezTo>
                  <a:cubicBezTo>
                    <a:pt x="78" y="86"/>
                    <a:pt x="78" y="86"/>
                    <a:pt x="78" y="335"/>
                  </a:cubicBezTo>
                  <a:cubicBezTo>
                    <a:pt x="78" y="340"/>
                    <a:pt x="82" y="344"/>
                    <a:pt x="87" y="344"/>
                  </a:cubicBezTo>
                  <a:cubicBezTo>
                    <a:pt x="87" y="344"/>
                    <a:pt x="87" y="344"/>
                    <a:pt x="337" y="344"/>
                  </a:cubicBezTo>
                  <a:cubicBezTo>
                    <a:pt x="342" y="344"/>
                    <a:pt x="345" y="340"/>
                    <a:pt x="345" y="335"/>
                  </a:cubicBezTo>
                  <a:cubicBezTo>
                    <a:pt x="345" y="335"/>
                    <a:pt x="345" y="335"/>
                    <a:pt x="345" y="86"/>
                  </a:cubicBezTo>
                  <a:cubicBezTo>
                    <a:pt x="345" y="81"/>
                    <a:pt x="342" y="78"/>
                    <a:pt x="337" y="78"/>
                  </a:cubicBezTo>
                  <a:close/>
                  <a:moveTo>
                    <a:pt x="121" y="140"/>
                  </a:moveTo>
                  <a:cubicBezTo>
                    <a:pt x="111" y="140"/>
                    <a:pt x="102" y="131"/>
                    <a:pt x="102" y="121"/>
                  </a:cubicBezTo>
                  <a:cubicBezTo>
                    <a:pt x="102" y="110"/>
                    <a:pt x="111" y="102"/>
                    <a:pt x="121" y="102"/>
                  </a:cubicBezTo>
                  <a:cubicBezTo>
                    <a:pt x="132" y="102"/>
                    <a:pt x="140" y="110"/>
                    <a:pt x="140" y="121"/>
                  </a:cubicBezTo>
                  <a:cubicBezTo>
                    <a:pt x="140" y="131"/>
                    <a:pt x="132" y="140"/>
                    <a:pt x="121" y="14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3620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 presetClass="entr" presetSubtype="0" fill="hold" nodeType="withEffect">
                                  <p:stCondLst>
                                    <p:cond delay="500"/>
                                  </p:stCondLst>
                                  <p:childTnLst>
                                    <p:set>
                                      <p:cBhvr>
                                        <p:cTn id="13" dur="1" fill="hold">
                                          <p:stCondLst>
                                            <p:cond delay="9"/>
                                          </p:stCondLst>
                                        </p:cTn>
                                        <p:tgtEl>
                                          <p:spTgt spid="20"/>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20"/>
                                        </p:tgtEl>
                                      </p:cBhvr>
                                      <p:by x="0" y="0"/>
                                    </p:animScale>
                                  </p:childTnLst>
                                </p:cTn>
                              </p:par>
                              <p:par>
                                <p:cTn id="16" presetID="1" presetClass="entr" presetSubtype="0" fill="hold" nodeType="withEffect">
                                  <p:stCondLst>
                                    <p:cond delay="800"/>
                                  </p:stCondLst>
                                  <p:childTnLst>
                                    <p:set>
                                      <p:cBhvr>
                                        <p:cTn id="17" dur="1" fill="hold">
                                          <p:stCondLst>
                                            <p:cond delay="9"/>
                                          </p:stCondLst>
                                        </p:cTn>
                                        <p:tgtEl>
                                          <p:spTgt spid="21"/>
                                        </p:tgtEl>
                                        <p:attrNameLst>
                                          <p:attrName>style.visibility</p:attrName>
                                        </p:attrNameLst>
                                      </p:cBhvr>
                                      <p:to>
                                        <p:strVal val="visible"/>
                                      </p:to>
                                    </p:set>
                                  </p:childTnLst>
                                </p:cTn>
                              </p:par>
                              <p:par>
                                <p:cTn id="18" presetID="6" presetClass="emph" presetSubtype="0" accel="100000" autoRev="1" fill="hold" nodeType="withEffect">
                                  <p:stCondLst>
                                    <p:cond delay="300"/>
                                  </p:stCondLst>
                                  <p:childTnLst>
                                    <p:animScale>
                                      <p:cBhvr>
                                        <p:cTn id="19" dur="500" fill="hold"/>
                                        <p:tgtEl>
                                          <p:spTgt spid="21"/>
                                        </p:tgtEl>
                                      </p:cBhvr>
                                      <p:by x="0" y="0"/>
                                    </p:animScale>
                                  </p:childTnLst>
                                </p:cTn>
                              </p:par>
                              <p:par>
                                <p:cTn id="20" presetID="1" presetClass="entr" presetSubtype="0" fill="hold" nodeType="withEffect">
                                  <p:stCondLst>
                                    <p:cond delay="1000"/>
                                  </p:stCondLst>
                                  <p:childTnLst>
                                    <p:set>
                                      <p:cBhvr>
                                        <p:cTn id="21" dur="1" fill="hold">
                                          <p:stCondLst>
                                            <p:cond delay="9"/>
                                          </p:stCondLst>
                                        </p:cTn>
                                        <p:tgtEl>
                                          <p:spTgt spid="5"/>
                                        </p:tgtEl>
                                        <p:attrNameLst>
                                          <p:attrName>style.visibility</p:attrName>
                                        </p:attrNameLst>
                                      </p:cBhvr>
                                      <p:to>
                                        <p:strVal val="visible"/>
                                      </p:to>
                                    </p:set>
                                  </p:childTnLst>
                                </p:cTn>
                              </p:par>
                              <p:par>
                                <p:cTn id="22" presetID="6" presetClass="emph" presetSubtype="0" accel="100000" autoRev="1" fill="hold" nodeType="withEffect">
                                  <p:stCondLst>
                                    <p:cond delay="500"/>
                                  </p:stCondLst>
                                  <p:childTnLst>
                                    <p:animScale>
                                      <p:cBhvr>
                                        <p:cTn id="23" dur="500" fill="hold"/>
                                        <p:tgtEl>
                                          <p:spTgt spid="5"/>
                                        </p:tgtEl>
                                      </p:cBhvr>
                                      <p:by x="0" y="0"/>
                                    </p:animScale>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35" presetClass="path" presetSubtype="0" decel="100000" fill="hold" grpId="1" nodeType="withEffect">
                                  <p:stCondLst>
                                    <p:cond delay="0"/>
                                  </p:stCondLst>
                                  <p:childTnLst>
                                    <p:animMotion origin="layout" path="M 0.04685 -3.10486E-6 L -4.01583E-6 -3.10486E-6 " pathEditMode="relative" rAng="0" ptsTypes="AA">
                                      <p:cBhvr>
                                        <p:cTn id="29" dur="500" fill="hold"/>
                                        <p:tgtEl>
                                          <p:spTgt spid="8"/>
                                        </p:tgtEl>
                                        <p:attrNameLst>
                                          <p:attrName>ppt_x</p:attrName>
                                          <p:attrName>ppt_y</p:attrName>
                                        </p:attrNameLst>
                                      </p:cBhvr>
                                      <p:rCtr x="-2349" y="0"/>
                                    </p:animMotion>
                                  </p:childTnLst>
                                </p:cTn>
                              </p:par>
                              <p:par>
                                <p:cTn id="30" presetID="10" presetClass="entr" presetSubtype="0" fill="hold" grpId="0"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35" presetClass="path" presetSubtype="0" decel="100000" fill="hold" grpId="1" nodeType="withEffect">
                                  <p:stCondLst>
                                    <p:cond delay="0"/>
                                  </p:stCondLst>
                                  <p:childTnLst>
                                    <p:animMotion origin="layout" path="M 0.06255 4.41217E-6 L -4.56982E-7 4.41217E-6 " pathEditMode="relative" rAng="0" ptsTypes="AA">
                                      <p:cBhvr>
                                        <p:cTn id="34" dur="500" fill="hold"/>
                                        <p:tgtEl>
                                          <p:spTgt spid="7"/>
                                        </p:tgtEl>
                                        <p:attrNameLst>
                                          <p:attrName>ppt_x</p:attrName>
                                          <p:attrName>ppt_y</p:attrName>
                                        </p:attrNameLst>
                                      </p:cBhvr>
                                      <p:rCtr x="-3127" y="0"/>
                                    </p:animMotion>
                                  </p:childTnLst>
                                </p:cTn>
                              </p:par>
                              <p:par>
                                <p:cTn id="35" presetID="10"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par>
                                <p:cTn id="38" presetID="35" presetClass="path" presetSubtype="0" decel="100000" fill="hold" grpId="1" nodeType="withEffect">
                                  <p:stCondLst>
                                    <p:cond delay="0"/>
                                  </p:stCondLst>
                                  <p:childTnLst>
                                    <p:animMotion origin="layout" path="M 0.06255 1.39355E-6 L -3.65075E-6 1.39355E-6 " pathEditMode="relative" rAng="0" ptsTypes="AA">
                                      <p:cBhvr>
                                        <p:cTn id="39" dur="500" fill="hold"/>
                                        <p:tgtEl>
                                          <p:spTgt spid="6"/>
                                        </p:tgtEl>
                                        <p:attrNameLst>
                                          <p:attrName>ppt_x</p:attrName>
                                          <p:attrName>ppt_y</p:attrName>
                                        </p:attrNameLst>
                                      </p:cBhvr>
                                      <p:rCtr x="-312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P spid="8" grpId="0"/>
      <p:bldP spid="8" grpId="1"/>
      <p:bldP spid="1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3" name="Group 2"/>
          <p:cNvGrpSpPr/>
          <p:nvPr/>
        </p:nvGrpSpPr>
        <p:grpSpPr>
          <a:xfrm>
            <a:off x="441428" y="1748631"/>
            <a:ext cx="11553619" cy="3885847"/>
            <a:chOff x="579474" y="3009900"/>
            <a:chExt cx="13593727" cy="4572000"/>
          </a:xfrm>
        </p:grpSpPr>
        <p:sp>
          <p:nvSpPr>
            <p:cNvPr id="4" name="Title 1"/>
            <p:cNvSpPr txBox="1">
              <a:spLocks/>
            </p:cNvSpPr>
            <p:nvPr/>
          </p:nvSpPr>
          <p:spPr>
            <a:xfrm>
              <a:off x="632638" y="3286126"/>
              <a:ext cx="13540563" cy="1781176"/>
            </a:xfrm>
            <a:prstGeom prst="rect">
              <a:avLst/>
            </a:prstGeom>
            <a:noFill/>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defRPr/>
              </a:pPr>
              <a:r>
                <a:rPr lang="en-US" sz="2720" dirty="0">
                  <a:solidFill>
                    <a:schemeClr val="tx2"/>
                  </a:solidFill>
                </a:rPr>
                <a:t>Analytics</a:t>
              </a:r>
            </a:p>
          </p:txBody>
        </p:sp>
        <p:sp>
          <p:nvSpPr>
            <p:cNvPr id="5" name="Title 1"/>
            <p:cNvSpPr txBox="1">
              <a:spLocks/>
            </p:cNvSpPr>
            <p:nvPr/>
          </p:nvSpPr>
          <p:spPr>
            <a:xfrm>
              <a:off x="579474" y="5524500"/>
              <a:ext cx="13540563" cy="1781175"/>
            </a:xfrm>
            <a:prstGeom prst="rect">
              <a:avLst/>
            </a:prstGeom>
            <a:noFill/>
          </p:spPr>
          <p:txBody>
            <a:bodyPr vert="horz" lIns="77717" tIns="38858" rIns="77717" bIns="38858" rtlCol="0" anchor="ctr">
              <a:normAutofit/>
            </a:bodyPr>
            <a:lstStyle>
              <a:defPPr>
                <a:defRPr lang="en-US"/>
              </a:defPPr>
              <a:lvl1pPr marR="0" lvl="0" indent="0" fontAlgn="auto">
                <a:lnSpc>
                  <a:spcPct val="90000"/>
                </a:lnSpc>
                <a:spcBef>
                  <a:spcPct val="0"/>
                </a:spcBef>
                <a:spcAft>
                  <a:spcPts val="0"/>
                </a:spcAft>
                <a:buClrTx/>
                <a:buSzTx/>
                <a:buFontTx/>
                <a:buNone/>
                <a:tabLst/>
                <a:defRPr kumimoji="0" sz="3200" b="0" i="0" u="none" strike="noStrike" cap="none" spc="0" normalizeH="0" baseline="0">
                  <a:ln>
                    <a:noFill/>
                  </a:ln>
                  <a:solidFill>
                    <a:prstClr val="white"/>
                  </a:solidFill>
                  <a:effectLst/>
                  <a:uLnTx/>
                  <a:uFillTx/>
                  <a:latin typeface="Segoe UI Light"/>
                  <a:ea typeface="+mj-ea"/>
                  <a:cs typeface="+mj-cs"/>
                </a:defRPr>
              </a:lvl1pPr>
            </a:lstStyle>
            <a:p>
              <a:r>
                <a:rPr lang="en-US" sz="2720" dirty="0">
                  <a:solidFill>
                    <a:schemeClr val="tx2"/>
                  </a:solidFill>
                </a:rPr>
                <a:t>Storage</a:t>
              </a:r>
            </a:p>
          </p:txBody>
        </p:sp>
        <p:sp>
          <p:nvSpPr>
            <p:cNvPr id="6" name="Title 1"/>
            <p:cNvSpPr txBox="1">
              <a:spLocks/>
            </p:cNvSpPr>
            <p:nvPr/>
          </p:nvSpPr>
          <p:spPr>
            <a:xfrm>
              <a:off x="36854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HDInsight</a:t>
              </a:r>
            </a:p>
            <a:p>
              <a:pPr algn="ctr">
                <a:defRPr/>
              </a:pPr>
              <a:r>
                <a:rPr lang="en-US" sz="1530" dirty="0">
                  <a:solidFill>
                    <a:prstClr val="white"/>
                  </a:solidFill>
                </a:rPr>
                <a:t>(“managed clusters”)</a:t>
              </a:r>
            </a:p>
            <a:p>
              <a:pPr algn="ctr">
                <a:defRPr/>
              </a:pPr>
              <a:endParaRPr lang="en-US" sz="1530" dirty="0">
                <a:solidFill>
                  <a:prstClr val="white"/>
                </a:solidFill>
              </a:endParaRPr>
            </a:p>
            <a:p>
              <a:pPr algn="ctr">
                <a:defRPr/>
              </a:pPr>
              <a:endParaRPr lang="en-US" sz="1530" dirty="0">
                <a:solidFill>
                  <a:prstClr val="white"/>
                </a:solidFill>
              </a:endParaRPr>
            </a:p>
          </p:txBody>
        </p:sp>
        <p:sp>
          <p:nvSpPr>
            <p:cNvPr id="7" name="Title 1"/>
            <p:cNvSpPr txBox="1">
              <a:spLocks/>
            </p:cNvSpPr>
            <p:nvPr/>
          </p:nvSpPr>
          <p:spPr>
            <a:xfrm>
              <a:off x="8486022" y="3286126"/>
              <a:ext cx="4417120" cy="1781176"/>
            </a:xfrm>
            <a:prstGeom prst="rect">
              <a:avLst/>
            </a:prstGeom>
            <a:solidFill>
              <a:schemeClr val="accent1"/>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Azure Data Lake </a:t>
              </a:r>
              <a:r>
                <a:rPr lang="en-US" sz="2379" dirty="0">
                  <a:solidFill>
                    <a:prstClr val="white"/>
                  </a:solidFill>
                  <a:latin typeface="Segoe UI Semibold" panose="020B0702040204020203" pitchFamily="34" charset="0"/>
                  <a:cs typeface="Segoe UI Semibold" panose="020B0702040204020203" pitchFamily="34" charset="0"/>
                </a:rPr>
                <a:t>Analytics</a:t>
              </a: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9" name="Title 1"/>
            <p:cNvSpPr txBox="1">
              <a:spLocks/>
            </p:cNvSpPr>
            <p:nvPr/>
          </p:nvSpPr>
          <p:spPr>
            <a:xfrm>
              <a:off x="6400800" y="5524499"/>
              <a:ext cx="4417120" cy="1781176"/>
            </a:xfrm>
            <a:prstGeom prst="rect">
              <a:avLst/>
            </a:prstGeom>
            <a:solidFill>
              <a:schemeClr val="bg2">
                <a:lumMod val="25000"/>
                <a:lumOff val="75000"/>
              </a:schemeClr>
            </a:solidFill>
            <a:effectLst/>
          </p:spPr>
          <p:txBody>
            <a:bodyPr vert="horz" lIns="77717" tIns="38858" rIns="77717" bIns="38858" rtlCol="0" anchor="ctr">
              <a:norm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pPr algn="ctr">
                <a:defRPr/>
              </a:pPr>
              <a:r>
                <a:rPr lang="en-US" sz="2379" dirty="0">
                  <a:solidFill>
                    <a:prstClr val="white"/>
                  </a:solidFill>
                </a:rPr>
                <a:t>Azure Data Lake </a:t>
              </a:r>
              <a:r>
                <a:rPr lang="en-US" sz="2379" dirty="0">
                  <a:solidFill>
                    <a:prstClr val="white"/>
                  </a:solidFill>
                  <a:latin typeface="Segoe UI Semibold" panose="020B0702040204020203" pitchFamily="34" charset="0"/>
                  <a:cs typeface="Segoe UI Semibold" panose="020B0702040204020203" pitchFamily="34" charset="0"/>
                </a:rPr>
                <a:t>Storage</a:t>
              </a: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a:p>
              <a:pPr algn="ctr">
                <a:defRPr/>
              </a:pPr>
              <a:endParaRPr lang="en-US" sz="2379" dirty="0">
                <a:solidFill>
                  <a:prstClr val="white"/>
                </a:solidFill>
                <a:latin typeface="Segoe UI Semibold" panose="020B0702040204020203" pitchFamily="34" charset="0"/>
                <a:cs typeface="Segoe UI Semibold" panose="020B0702040204020203" pitchFamily="34" charset="0"/>
              </a:endParaRPr>
            </a:p>
          </p:txBody>
        </p:sp>
        <p:sp>
          <p:nvSpPr>
            <p:cNvPr id="10" name="Rectangle 9"/>
            <p:cNvSpPr/>
            <p:nvPr/>
          </p:nvSpPr>
          <p:spPr>
            <a:xfrm>
              <a:off x="3430552" y="3009900"/>
              <a:ext cx="10056848" cy="4572000"/>
            </a:xfrm>
            <a:prstGeom prst="rect">
              <a:avLst/>
            </a:prstGeom>
            <a:noFill/>
            <a:ln w="762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1" name="Left Brace 10"/>
            <p:cNvSpPr/>
            <p:nvPr/>
          </p:nvSpPr>
          <p:spPr>
            <a:xfrm>
              <a:off x="2514600" y="3286125"/>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30">
                <a:solidFill>
                  <a:schemeClr val="tx2"/>
                </a:solidFill>
              </a:endParaRPr>
            </a:p>
          </p:txBody>
        </p:sp>
        <p:sp>
          <p:nvSpPr>
            <p:cNvPr id="13" name="Left Brace 12"/>
            <p:cNvSpPr/>
            <p:nvPr/>
          </p:nvSpPr>
          <p:spPr>
            <a:xfrm>
              <a:off x="2514600" y="5524499"/>
              <a:ext cx="685800" cy="1781175"/>
            </a:xfrm>
            <a:prstGeom prst="leftBrace">
              <a:avLst>
                <a:gd name="adj1" fmla="val 53049"/>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30">
                <a:solidFill>
                  <a:schemeClr val="tx2"/>
                </a:solidFill>
              </a:endParaRPr>
            </a:p>
          </p:txBody>
        </p:sp>
      </p:grpSp>
      <p:sp>
        <p:nvSpPr>
          <p:cNvPr id="15" name="Title 1"/>
          <p:cNvSpPr>
            <a:spLocks noGrp="1"/>
          </p:cNvSpPr>
          <p:nvPr>
            <p:ph type="title"/>
          </p:nvPr>
        </p:nvSpPr>
        <p:spPr>
          <a:xfrm>
            <a:off x="275163" y="292082"/>
            <a:ext cx="11885514" cy="946413"/>
          </a:xfrm>
        </p:spPr>
        <p:txBody>
          <a:bodyPr/>
          <a:lstStyle/>
          <a:p>
            <a:r>
              <a:rPr lang="en-US" dirty="0"/>
              <a:t>Azure Data Lake</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23967" y="2611548"/>
            <a:ext cx="838699" cy="838699"/>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1878" y="2792797"/>
            <a:ext cx="770290" cy="557796"/>
          </a:xfrm>
          <a:prstGeom prst="rect">
            <a:avLst/>
          </a:prstGeom>
        </p:spPr>
      </p:pic>
      <p:grpSp>
        <p:nvGrpSpPr>
          <p:cNvPr id="12" name="Group 11"/>
          <p:cNvGrpSpPr/>
          <p:nvPr/>
        </p:nvGrpSpPr>
        <p:grpSpPr>
          <a:xfrm>
            <a:off x="6761004" y="4483557"/>
            <a:ext cx="1010412" cy="767281"/>
            <a:chOff x="6628173" y="4396043"/>
            <a:chExt cx="990690" cy="752305"/>
          </a:xfrm>
        </p:grpSpPr>
        <p:sp>
          <p:nvSpPr>
            <p:cNvPr id="18" name="Freeform 17"/>
            <p:cNvSpPr/>
            <p:nvPr/>
          </p:nvSpPr>
          <p:spPr bwMode="auto">
            <a:xfrm>
              <a:off x="6628173" y="4396043"/>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sp>
          <p:nvSpPr>
            <p:cNvPr id="19" name="Freeform 18"/>
            <p:cNvSpPr/>
            <p:nvPr/>
          </p:nvSpPr>
          <p:spPr bwMode="auto">
            <a:xfrm rot="12373696">
              <a:off x="7033511" y="4584358"/>
              <a:ext cx="180012"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chemeClr val="bg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36338580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9452" y="1238494"/>
            <a:ext cx="11532506" cy="753369"/>
          </a:xfrm>
        </p:spPr>
        <p:txBody>
          <a:bodyPr vert="horz" wrap="square" lIns="0" tIns="0" rIns="0" bIns="0" rtlCol="0" anchor="t">
            <a:noAutofit/>
          </a:bodyPr>
          <a:lstStyle/>
          <a:p>
            <a:pPr>
              <a:lnSpc>
                <a:spcPct val="100000"/>
              </a:lnSpc>
            </a:pPr>
            <a:r>
              <a:rPr lang="en-US" sz="2448" spc="0" dirty="0">
                <a:solidFill>
                  <a:schemeClr val="tx1"/>
                </a:solidFill>
              </a:rPr>
              <a:t>A highly scalable, distributed, parallel file system in the cloud </a:t>
            </a:r>
            <a:br>
              <a:rPr lang="en-US" sz="2448" spc="0" dirty="0">
                <a:solidFill>
                  <a:schemeClr val="tx1"/>
                </a:solidFill>
              </a:rPr>
            </a:br>
            <a:r>
              <a:rPr lang="en-US" sz="2448" spc="0" dirty="0">
                <a:solidFill>
                  <a:schemeClr val="tx1"/>
                </a:solidFill>
              </a:rPr>
              <a:t>specifically designed to work with multiple analytic frameworks</a:t>
            </a:r>
          </a:p>
        </p:txBody>
      </p:sp>
      <p:sp>
        <p:nvSpPr>
          <p:cNvPr id="21" name="Title 1"/>
          <p:cNvSpPr txBox="1">
            <a:spLocks/>
          </p:cNvSpPr>
          <p:nvPr/>
        </p:nvSpPr>
        <p:spPr>
          <a:xfrm>
            <a:off x="275163" y="292082"/>
            <a:ext cx="11885514" cy="946413"/>
          </a:xfrm>
          <a:prstGeom prst="rect">
            <a:avLst/>
          </a:prstGeom>
        </p:spPr>
        <p:txBody>
          <a:bodyPr vert="horz" wrap="square" lIns="149217" tIns="93260" rIns="149217" bIns="93260" rtlCol="0" anchor="t">
            <a:noAutofit/>
          </a:bodyPr>
          <a:lstStyle>
            <a:lvl1pPr algn="l" defTabSz="913505" rtl="0" eaLnBrk="1" fontAlgn="base" hangingPunct="1">
              <a:lnSpc>
                <a:spcPct val="90000"/>
              </a:lnSpc>
              <a:spcBef>
                <a:spcPct val="0"/>
              </a:spcBef>
              <a:spcAft>
                <a:spcPct val="0"/>
              </a:spcAft>
              <a:defRPr lang="en-US" sz="5098" kern="1200" spc="-10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r>
              <a:rPr lang="en-US" sz="4896" dirty="0">
                <a:solidFill>
                  <a:schemeClr val="tx1"/>
                </a:solidFill>
              </a:rPr>
              <a:t>What is Azure Data Lake Store?</a:t>
            </a:r>
          </a:p>
        </p:txBody>
      </p:sp>
      <p:grpSp>
        <p:nvGrpSpPr>
          <p:cNvPr id="76" name="Group 75"/>
          <p:cNvGrpSpPr/>
          <p:nvPr/>
        </p:nvGrpSpPr>
        <p:grpSpPr>
          <a:xfrm>
            <a:off x="459451" y="2604459"/>
            <a:ext cx="2376674" cy="3104523"/>
            <a:chOff x="787287" y="2926584"/>
            <a:chExt cx="2204296" cy="2879354"/>
          </a:xfrm>
          <a:solidFill>
            <a:schemeClr val="bg2">
              <a:lumMod val="25000"/>
              <a:lumOff val="75000"/>
            </a:schemeClr>
          </a:solidFill>
        </p:grpSpPr>
        <p:grpSp>
          <p:nvGrpSpPr>
            <p:cNvPr id="75" name="Group 74"/>
            <p:cNvGrpSpPr/>
            <p:nvPr/>
          </p:nvGrpSpPr>
          <p:grpSpPr>
            <a:xfrm>
              <a:off x="787288" y="3657769"/>
              <a:ext cx="1070933" cy="685800"/>
              <a:chOff x="787288" y="2926584"/>
              <a:chExt cx="1070933" cy="685800"/>
            </a:xfrm>
            <a:grpFill/>
          </p:grpSpPr>
          <p:sp>
            <p:nvSpPr>
              <p:cNvPr id="128" name="Rectangle 127"/>
              <p:cNvSpPr/>
              <p:nvPr>
                <p:custDataLst>
                  <p:tags r:id="rId8"/>
                </p:custDataLst>
              </p:nvPr>
            </p:nvSpPr>
            <p:spPr bwMode="auto">
              <a:xfrm>
                <a:off x="787288" y="292658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LOB Applications</a:t>
                </a:r>
              </a:p>
            </p:txBody>
          </p:sp>
          <p:sp>
            <p:nvSpPr>
              <p:cNvPr id="133" name="Round Diagonal Corner Rectangle 53"/>
              <p:cNvSpPr/>
              <p:nvPr/>
            </p:nvSpPr>
            <p:spPr bwMode="auto">
              <a:xfrm>
                <a:off x="1240335" y="3063819"/>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 name="Group 28"/>
            <p:cNvGrpSpPr/>
            <p:nvPr/>
          </p:nvGrpSpPr>
          <p:grpSpPr>
            <a:xfrm>
              <a:off x="1920650" y="2926584"/>
              <a:ext cx="1070933" cy="685800"/>
              <a:chOff x="1589220" y="3614946"/>
              <a:chExt cx="1070933" cy="685800"/>
            </a:xfrm>
            <a:grpFill/>
          </p:grpSpPr>
          <p:sp>
            <p:nvSpPr>
              <p:cNvPr id="119" name="Rectangle 118"/>
              <p:cNvSpPr/>
              <p:nvPr>
                <p:custDataLst>
                  <p:tags r:id="rId7"/>
                </p:custDataLst>
              </p:nvPr>
            </p:nvSpPr>
            <p:spPr bwMode="auto">
              <a:xfrm>
                <a:off x="1589220" y="361494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Social</a:t>
                </a:r>
              </a:p>
            </p:txBody>
          </p:sp>
          <p:sp>
            <p:nvSpPr>
              <p:cNvPr id="123" name="Freeform 13"/>
              <p:cNvSpPr>
                <a:spLocks noChangeAspect="1" noEditPoints="1"/>
              </p:cNvSpPr>
              <p:nvPr/>
            </p:nvSpPr>
            <p:spPr bwMode="black">
              <a:xfrm>
                <a:off x="1907537" y="3733853"/>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7" tIns="91427" rIns="91427" bIns="91427" numCol="1" rtlCol="0" anchor="ctr" anchorCtr="0" compatLnSpc="1">
                <a:prstTxWarp prst="textNoShape">
                  <a:avLst/>
                </a:prstTxWarp>
              </a:bodyPr>
              <a:lstStyle/>
              <a:p>
                <a:pPr defTabSz="725868"/>
                <a:endParaRPr lang="en-US" sz="918" spc="-120" dirty="0">
                  <a:solidFill>
                    <a:schemeClr val="bg1"/>
                  </a:solidFill>
                </a:endParaRPr>
              </a:p>
            </p:txBody>
          </p:sp>
        </p:grpSp>
        <p:grpSp>
          <p:nvGrpSpPr>
            <p:cNvPr id="31" name="Group 30"/>
            <p:cNvGrpSpPr/>
            <p:nvPr/>
          </p:nvGrpSpPr>
          <p:grpSpPr>
            <a:xfrm>
              <a:off x="787287" y="2926584"/>
              <a:ext cx="1070933" cy="685800"/>
              <a:chOff x="1608381" y="2152576"/>
              <a:chExt cx="1070933" cy="685800"/>
            </a:xfrm>
            <a:grpFill/>
          </p:grpSpPr>
          <p:sp>
            <p:nvSpPr>
              <p:cNvPr id="126" name="Rectangle 125"/>
              <p:cNvSpPr/>
              <p:nvPr>
                <p:custDataLst>
                  <p:tags r:id="rId6"/>
                </p:custDataLst>
              </p:nvPr>
            </p:nvSpPr>
            <p:spPr bwMode="auto">
              <a:xfrm>
                <a:off x="1608381" y="2152576"/>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Devices</a:t>
                </a:r>
              </a:p>
            </p:txBody>
          </p:sp>
          <p:grpSp>
            <p:nvGrpSpPr>
              <p:cNvPr id="130" name="Group 129"/>
              <p:cNvGrpSpPr/>
              <p:nvPr/>
            </p:nvGrpSpPr>
            <p:grpSpPr>
              <a:xfrm>
                <a:off x="1819008" y="2250037"/>
                <a:ext cx="649679" cy="404414"/>
                <a:chOff x="2769908" y="1409697"/>
                <a:chExt cx="1965320" cy="1055586"/>
              </a:xfrm>
              <a:grpFill/>
            </p:grpSpPr>
            <p:sp>
              <p:nvSpPr>
                <p:cNvPr id="139" name="Round Same Side Corner Rectangle 11"/>
                <p:cNvSpPr/>
                <p:nvPr/>
              </p:nvSpPr>
              <p:spPr>
                <a:xfrm>
                  <a:off x="3138523" y="1744049"/>
                  <a:ext cx="998085"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solidFill>
                    <a:schemeClr val="bg2">
                      <a:lumMod val="75000"/>
                      <a:lumOff val="25000"/>
                    </a:schemeClr>
                  </a:solidFill>
                  <a:prstDash val="solid"/>
                </a:ln>
                <a:effectLst/>
              </p:spPr>
              <p:txBody>
                <a:bodyPr lIns="44815"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896214">
                    <a:defRPr/>
                  </a:pPr>
                  <a:endParaRPr lang="en-US" sz="490" kern="0" dirty="0">
                    <a:solidFill>
                      <a:schemeClr val="accent3"/>
                    </a:solidFill>
                    <a:latin typeface="Segoe"/>
                  </a:endParaRPr>
                </a:p>
              </p:txBody>
            </p:sp>
            <p:sp>
              <p:nvSpPr>
                <p:cNvPr id="14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solidFill>
                    <a:schemeClr val="bg2">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4815" tIns="44815" rIns="0" bIns="89629"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95919"/>
                  <a:endParaRPr lang="en-US" sz="490"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4815" tIns="44813" rIns="0" bIns="4481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06586"/>
                  <a:endParaRPr lang="en-US" sz="490" spc="-132" dirty="0">
                    <a:gradFill>
                      <a:gsLst>
                        <a:gs pos="0">
                          <a:srgbClr val="FFFFFF"/>
                        </a:gs>
                        <a:gs pos="100000">
                          <a:srgbClr val="FFFFFF"/>
                        </a:gs>
                      </a:gsLst>
                      <a:lin ang="5400000" scaled="0"/>
                    </a:gradFill>
                    <a:latin typeface="Segoe Light" pitchFamily="34" charset="0"/>
                  </a:endParaRPr>
                </a:p>
              </p:txBody>
            </p:sp>
          </p:grpSp>
        </p:grpSp>
        <p:grpSp>
          <p:nvGrpSpPr>
            <p:cNvPr id="70" name="Group 69"/>
            <p:cNvGrpSpPr/>
            <p:nvPr/>
          </p:nvGrpSpPr>
          <p:grpSpPr>
            <a:xfrm>
              <a:off x="1920650" y="5120138"/>
              <a:ext cx="1070933" cy="685800"/>
              <a:chOff x="787287" y="5120138"/>
              <a:chExt cx="1070933" cy="685800"/>
            </a:xfrm>
            <a:grpFill/>
          </p:grpSpPr>
          <p:sp>
            <p:nvSpPr>
              <p:cNvPr id="116" name="Rectangle 115"/>
              <p:cNvSpPr/>
              <p:nvPr>
                <p:custDataLst>
                  <p:tags r:id="rId5"/>
                </p:custDataLst>
              </p:nvPr>
            </p:nvSpPr>
            <p:spPr bwMode="auto">
              <a:xfrm>
                <a:off x="787287" y="5120138"/>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Clickstream</a:t>
                </a:r>
              </a:p>
            </p:txBody>
          </p:sp>
          <p:sp>
            <p:nvSpPr>
              <p:cNvPr id="120" name="Freeform 119"/>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grpFill/>
              <a:ln>
                <a:solidFill>
                  <a:schemeClr val="bg2">
                    <a:lumMod val="75000"/>
                    <a:lumOff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grpSp>
        <p:grpSp>
          <p:nvGrpSpPr>
            <p:cNvPr id="71" name="Group 70"/>
            <p:cNvGrpSpPr/>
            <p:nvPr/>
          </p:nvGrpSpPr>
          <p:grpSpPr>
            <a:xfrm>
              <a:off x="1920650" y="4388954"/>
              <a:ext cx="1070933" cy="685800"/>
              <a:chOff x="787287" y="4388954"/>
              <a:chExt cx="1070933" cy="685800"/>
            </a:xfrm>
            <a:grpFill/>
          </p:grpSpPr>
          <p:sp>
            <p:nvSpPr>
              <p:cNvPr id="117" name="Rectangle 116"/>
              <p:cNvSpPr/>
              <p:nvPr>
                <p:custDataLst>
                  <p:tags r:id="rId4"/>
                </p:custDataLst>
              </p:nvPr>
            </p:nvSpPr>
            <p:spPr bwMode="auto">
              <a:xfrm>
                <a:off x="787287" y="4388954"/>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Sensors</a:t>
                </a:r>
              </a:p>
            </p:txBody>
          </p:sp>
          <p:sp>
            <p:nvSpPr>
              <p:cNvPr id="121"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chemeClr val="bg2">
                    <a:lumMod val="75000"/>
                    <a:lumOff val="25000"/>
                  </a:schemeClr>
                </a:solidFill>
                <a:prstDash val="solid"/>
                <a:headEnd type="none" w="med" len="med"/>
                <a:tailEnd type="none" w="med" len="med"/>
              </a:ln>
              <a:effectLst/>
            </p:spPr>
            <p:txBody>
              <a:bodyPr rot="0" spcFirstLastPara="0" vert="horz" wrap="square" lIns="44815" tIns="52714" rIns="0" bIns="105426"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defTabSz="1053721">
                  <a:defRPr/>
                </a:pPr>
                <a:endParaRPr lang="en-US" sz="490"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1920650" y="3657769"/>
              <a:ext cx="1070933" cy="685800"/>
              <a:chOff x="1589220" y="4346130"/>
              <a:chExt cx="1070933" cy="685800"/>
            </a:xfrm>
            <a:grpFill/>
          </p:grpSpPr>
          <p:sp>
            <p:nvSpPr>
              <p:cNvPr id="118" name="Rectangle 117"/>
              <p:cNvSpPr/>
              <p:nvPr>
                <p:custDataLst>
                  <p:tags r:id="rId3"/>
                </p:custDataLst>
              </p:nvPr>
            </p:nvSpPr>
            <p:spPr bwMode="auto">
              <a:xfrm>
                <a:off x="1589220" y="4346130"/>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Video</a:t>
                </a:r>
              </a:p>
            </p:txBody>
          </p:sp>
          <p:sp>
            <p:nvSpPr>
              <p:cNvPr id="122" name="Freeform 12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grpFill/>
              <a:ln>
                <a:solidFill>
                  <a:schemeClr val="bg2">
                    <a:lumMod val="75000"/>
                    <a:lumOff val="2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4815" tIns="44813" rIns="0" bIns="44813"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806586"/>
                <a:endParaRPr lang="en-US" sz="490" spc="-132" dirty="0">
                  <a:solidFill>
                    <a:schemeClr val="accent3"/>
                  </a:solidFill>
                  <a:latin typeface="Segoe Light" pitchFamily="34" charset="0"/>
                </a:endParaRPr>
              </a:p>
            </p:txBody>
          </p:sp>
        </p:grpSp>
        <p:grpSp>
          <p:nvGrpSpPr>
            <p:cNvPr id="30" name="Group 29"/>
            <p:cNvGrpSpPr/>
            <p:nvPr/>
          </p:nvGrpSpPr>
          <p:grpSpPr>
            <a:xfrm>
              <a:off x="787287" y="4388954"/>
              <a:ext cx="1070933" cy="685800"/>
              <a:chOff x="1608381" y="2883761"/>
              <a:chExt cx="1070933" cy="685800"/>
            </a:xfrm>
            <a:grpFill/>
          </p:grpSpPr>
          <p:sp>
            <p:nvSpPr>
              <p:cNvPr id="125" name="Rectangle 124"/>
              <p:cNvSpPr/>
              <p:nvPr>
                <p:custDataLst>
                  <p:tags r:id="rId2"/>
                </p:custDataLst>
              </p:nvPr>
            </p:nvSpPr>
            <p:spPr bwMode="auto">
              <a:xfrm>
                <a:off x="1608381" y="2883761"/>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Web</a:t>
                </a:r>
              </a:p>
            </p:txBody>
          </p:sp>
          <p:grpSp>
            <p:nvGrpSpPr>
              <p:cNvPr id="129" name="Group 128"/>
              <p:cNvGrpSpPr/>
              <p:nvPr/>
            </p:nvGrpSpPr>
            <p:grpSpPr>
              <a:xfrm>
                <a:off x="1940805" y="2964946"/>
                <a:ext cx="406084" cy="397883"/>
                <a:chOff x="4030436" y="1511171"/>
                <a:chExt cx="4398164" cy="4309344"/>
              </a:xfrm>
              <a:grpFill/>
            </p:grpSpPr>
            <p:sp>
              <p:nvSpPr>
                <p:cNvPr id="142" name="Oval 35"/>
                <p:cNvSpPr/>
                <p:nvPr/>
              </p:nvSpPr>
              <p:spPr>
                <a:xfrm>
                  <a:off x="4411046" y="1909551"/>
                  <a:ext cx="3592283" cy="3588786"/>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sp>
              <p:nvSpPr>
                <p:cNvPr id="143" name="Left Arrow 142"/>
                <p:cNvSpPr/>
                <p:nvPr/>
              </p:nvSpPr>
              <p:spPr>
                <a:xfrm>
                  <a:off x="4030436" y="151117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sp>
              <p:nvSpPr>
                <p:cNvPr id="148" name="Left Arrow 147"/>
                <p:cNvSpPr/>
                <p:nvPr/>
              </p:nvSpPr>
              <p:spPr>
                <a:xfrm flipH="1">
                  <a:off x="6270899" y="4551551"/>
                  <a:ext cx="2157701" cy="1268964"/>
                </a:xfrm>
                <a:prstGeom prst="leftArrow">
                  <a:avLst/>
                </a:pr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dirty="0"/>
                </a:p>
              </p:txBody>
            </p:sp>
          </p:grpSp>
        </p:grpSp>
        <p:grpSp>
          <p:nvGrpSpPr>
            <p:cNvPr id="72" name="Group 71"/>
            <p:cNvGrpSpPr/>
            <p:nvPr/>
          </p:nvGrpSpPr>
          <p:grpSpPr>
            <a:xfrm>
              <a:off x="787287" y="5120138"/>
              <a:ext cx="1070933" cy="685800"/>
              <a:chOff x="787287" y="3657769"/>
              <a:chExt cx="1070933" cy="685800"/>
            </a:xfrm>
            <a:grpFill/>
          </p:grpSpPr>
          <p:sp>
            <p:nvSpPr>
              <p:cNvPr id="127" name="Rectangle 126"/>
              <p:cNvSpPr/>
              <p:nvPr>
                <p:custDataLst>
                  <p:tags r:id="rId1"/>
                </p:custDataLst>
              </p:nvPr>
            </p:nvSpPr>
            <p:spPr bwMode="auto">
              <a:xfrm>
                <a:off x="787287" y="3657769"/>
                <a:ext cx="1070933" cy="685800"/>
              </a:xfrm>
              <a:prstGeom prst="rect">
                <a:avLst/>
              </a:prstGeom>
              <a:grpFill/>
              <a:ln w="3175">
                <a:solidFill>
                  <a:schemeClr val="bg2">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algn="ctr" defTabSz="951028"/>
                <a:r>
                  <a:rPr lang="en-US" sz="1020" dirty="0">
                    <a:solidFill>
                      <a:schemeClr val="tx1"/>
                    </a:solidFill>
                  </a:rPr>
                  <a:t>Relational</a:t>
                </a:r>
              </a:p>
            </p:txBody>
          </p:sp>
          <p:sp>
            <p:nvSpPr>
              <p:cNvPr id="131"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grpFill/>
              <a:ln>
                <a:solidFill>
                  <a:schemeClr val="bg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dirty="0">
                  <a:solidFill>
                    <a:schemeClr val="tx1"/>
                  </a:solidFill>
                </a:endParaRPr>
              </a:p>
            </p:txBody>
          </p:sp>
        </p:grpSp>
      </p:grpSp>
      <p:grpSp>
        <p:nvGrpSpPr>
          <p:cNvPr id="6" name="Group 5"/>
          <p:cNvGrpSpPr/>
          <p:nvPr/>
        </p:nvGrpSpPr>
        <p:grpSpPr>
          <a:xfrm>
            <a:off x="2845129" y="3006268"/>
            <a:ext cx="1333950" cy="2365092"/>
            <a:chOff x="2769904" y="2916122"/>
            <a:chExt cx="1307913" cy="2318928"/>
          </a:xfrm>
        </p:grpSpPr>
        <p:cxnSp>
          <p:nvCxnSpPr>
            <p:cNvPr id="78" name="Elbow Connector 77"/>
            <p:cNvCxnSpPr>
              <a:stCxn id="119" idx="3"/>
              <a:endCxn id="116" idx="3"/>
            </p:cNvCxnSpPr>
            <p:nvPr/>
          </p:nvCxnSpPr>
          <p:spPr>
            <a:xfrm>
              <a:off x="2779903" y="2916122"/>
              <a:ext cx="13426" cy="2318928"/>
            </a:xfrm>
            <a:prstGeom prst="bentConnector3">
              <a:avLst>
                <a:gd name="adj1" fmla="val 1800000"/>
              </a:avLst>
            </a:prstGeom>
            <a:ln w="25400">
              <a:solidFill>
                <a:schemeClr val="bg2">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endCxn id="85" idx="2"/>
            </p:cNvCxnSpPr>
            <p:nvPr/>
          </p:nvCxnSpPr>
          <p:spPr>
            <a:xfrm flipV="1">
              <a:off x="2769904" y="4075587"/>
              <a:ext cx="1307913"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8103505" y="2766566"/>
            <a:ext cx="1150228" cy="2795686"/>
            <a:chOff x="7944469" y="2712566"/>
            <a:chExt cx="1127777" cy="2741117"/>
          </a:xfrm>
        </p:grpSpPr>
        <p:cxnSp>
          <p:nvCxnSpPr>
            <p:cNvPr id="157" name="Straight Arrow Connector 156"/>
            <p:cNvCxnSpPr/>
            <p:nvPr/>
          </p:nvCxnSpPr>
          <p:spPr>
            <a:xfrm>
              <a:off x="8489700" y="271765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8489700" y="344409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8489700" y="4699470"/>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8508356" y="4066779"/>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8508359" y="5453683"/>
              <a:ext cx="563887" cy="0"/>
            </a:xfrm>
            <a:prstGeom prst="straightConnector1">
              <a:avLst/>
            </a:prstGeom>
            <a:ln w="25400">
              <a:solidFill>
                <a:schemeClr val="bg2">
                  <a:lumMod val="75000"/>
                  <a:lumOff val="25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8489700" y="2712566"/>
              <a:ext cx="18656" cy="2741117"/>
            </a:xfrm>
            <a:prstGeom prst="line">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a:stCxn id="85" idx="6"/>
            </p:cNvCxnSpPr>
            <p:nvPr/>
          </p:nvCxnSpPr>
          <p:spPr>
            <a:xfrm flipV="1">
              <a:off x="7944469" y="4066779"/>
              <a:ext cx="651348" cy="0"/>
            </a:xfrm>
            <a:prstGeom prst="straightConnector1">
              <a:avLst/>
            </a:prstGeom>
            <a:ln w="25400">
              <a:solidFill>
                <a:schemeClr val="bg2">
                  <a:lumMod val="75000"/>
                  <a:lumOff val="25000"/>
                </a:schemeClr>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9380036" y="2537235"/>
            <a:ext cx="2630735" cy="3286996"/>
            <a:chOff x="9196084" y="2487711"/>
            <a:chExt cx="2579386" cy="3222838"/>
          </a:xfrm>
        </p:grpSpPr>
        <p:sp>
          <p:nvSpPr>
            <p:cNvPr id="151" name="TextBox 150"/>
            <p:cNvSpPr txBox="1"/>
            <p:nvPr/>
          </p:nvSpPr>
          <p:spPr>
            <a:xfrm>
              <a:off x="9196084" y="3312361"/>
              <a:ext cx="1015327" cy="276999"/>
            </a:xfrm>
            <a:prstGeom prst="rect">
              <a:avLst/>
            </a:prstGeom>
            <a:noFill/>
          </p:spPr>
          <p:txBody>
            <a:bodyPr wrap="none" lIns="0" tIns="0" rIns="0" bIns="0" rtlCol="0">
              <a:spAutoFit/>
            </a:bodyPr>
            <a:lstStyle/>
            <a:p>
              <a:pPr defTabSz="950973"/>
              <a:r>
                <a:rPr lang="en-US" sz="1836" dirty="0">
                  <a:solidFill>
                    <a:schemeClr val="tx2"/>
                  </a:solidFill>
                </a:rPr>
                <a:t>HDInsight</a:t>
              </a:r>
            </a:p>
          </p:txBody>
        </p:sp>
        <p:sp>
          <p:nvSpPr>
            <p:cNvPr id="152" name="TextBox 151"/>
            <p:cNvSpPr txBox="1"/>
            <p:nvPr/>
          </p:nvSpPr>
          <p:spPr>
            <a:xfrm>
              <a:off x="9196084" y="2566150"/>
              <a:ext cx="1388515" cy="276999"/>
            </a:xfrm>
            <a:prstGeom prst="rect">
              <a:avLst/>
            </a:prstGeom>
            <a:noFill/>
          </p:spPr>
          <p:txBody>
            <a:bodyPr wrap="none" lIns="0" tIns="0" rIns="0" bIns="0" rtlCol="0">
              <a:spAutoFit/>
            </a:bodyPr>
            <a:lstStyle/>
            <a:p>
              <a:pPr defTabSz="950973"/>
              <a:r>
                <a:rPr lang="en-US" sz="1836" dirty="0">
                  <a:solidFill>
                    <a:schemeClr val="tx2"/>
                  </a:solidFill>
                </a:rPr>
                <a:t>ADL Analytics</a:t>
              </a:r>
            </a:p>
          </p:txBody>
        </p:sp>
        <p:sp>
          <p:nvSpPr>
            <p:cNvPr id="153" name="TextBox 152"/>
            <p:cNvSpPr txBox="1"/>
            <p:nvPr/>
          </p:nvSpPr>
          <p:spPr>
            <a:xfrm>
              <a:off x="9196084" y="5308289"/>
              <a:ext cx="1813318" cy="276999"/>
            </a:xfrm>
            <a:prstGeom prst="rect">
              <a:avLst/>
            </a:prstGeom>
            <a:noFill/>
          </p:spPr>
          <p:txBody>
            <a:bodyPr wrap="none" lIns="0" tIns="0" rIns="0" bIns="0" rtlCol="0">
              <a:spAutoFit/>
            </a:bodyPr>
            <a:lstStyle/>
            <a:p>
              <a:pPr defTabSz="950973"/>
              <a:r>
                <a:rPr lang="en-US" sz="1836" dirty="0">
                  <a:solidFill>
                    <a:schemeClr val="tx2"/>
                  </a:solidFill>
                </a:rPr>
                <a:t>Machine Learning</a:t>
              </a:r>
            </a:p>
          </p:txBody>
        </p:sp>
        <p:sp>
          <p:nvSpPr>
            <p:cNvPr id="155" name="TextBox 154"/>
            <p:cNvSpPr txBox="1"/>
            <p:nvPr/>
          </p:nvSpPr>
          <p:spPr>
            <a:xfrm>
              <a:off x="9196084" y="4553054"/>
              <a:ext cx="578813" cy="282513"/>
            </a:xfrm>
            <a:prstGeom prst="rect">
              <a:avLst/>
            </a:prstGeom>
            <a:noFill/>
          </p:spPr>
          <p:txBody>
            <a:bodyPr wrap="none" lIns="0" tIns="0" rIns="0" bIns="0" rtlCol="0">
              <a:spAutoFit/>
            </a:bodyPr>
            <a:lstStyle/>
            <a:p>
              <a:pPr defTabSz="950973"/>
              <a:r>
                <a:rPr lang="en-US" sz="1836" dirty="0">
                  <a:solidFill>
                    <a:schemeClr val="tx2"/>
                  </a:solidFill>
                </a:rPr>
                <a:t>Spark</a:t>
              </a:r>
            </a:p>
          </p:txBody>
        </p:sp>
        <p:sp>
          <p:nvSpPr>
            <p:cNvPr id="65" name="TextBox 64"/>
            <p:cNvSpPr txBox="1"/>
            <p:nvPr/>
          </p:nvSpPr>
          <p:spPr>
            <a:xfrm>
              <a:off x="9196084" y="3903006"/>
              <a:ext cx="141064" cy="282513"/>
            </a:xfrm>
            <a:prstGeom prst="rect">
              <a:avLst/>
            </a:prstGeom>
            <a:noFill/>
          </p:spPr>
          <p:txBody>
            <a:bodyPr wrap="none" lIns="0" tIns="0" rIns="0" bIns="0" rtlCol="0">
              <a:spAutoFit/>
            </a:bodyPr>
            <a:lstStyle/>
            <a:p>
              <a:pPr defTabSz="950973"/>
              <a:r>
                <a:rPr lang="en-US" sz="1836" dirty="0">
                  <a:solidFill>
                    <a:schemeClr val="tx2"/>
                  </a:solidFill>
                </a:rPr>
                <a:t>R</a:t>
              </a:r>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02553" y="2487711"/>
              <a:ext cx="459878" cy="459878"/>
            </a:xfrm>
            <a:prstGeom prst="rect">
              <a:avLst/>
            </a:prstGeom>
          </p:spPr>
        </p:pic>
        <p:pic>
          <p:nvPicPr>
            <p:cNvPr id="8" name="Picture 7"/>
            <p:cNvPicPr>
              <a:picLocks noChangeAspect="1"/>
            </p:cNvPicPr>
            <p:nvPr/>
          </p:nvPicPr>
          <p:blipFill rotWithShape="1">
            <a:blip r:embed="rId12"/>
            <a:srcRect t="7492"/>
            <a:stretch/>
          </p:blipFill>
          <p:spPr>
            <a:xfrm>
              <a:off x="11152864" y="3829050"/>
              <a:ext cx="559256" cy="517356"/>
            </a:xfrm>
            <a:prstGeom prst="rect">
              <a:avLst/>
            </a:prstGeom>
          </p:spPr>
        </p:pic>
        <p:pic>
          <p:nvPicPr>
            <p:cNvPr id="73" name="Picture 2" descr="http://www.ebaytechblog.com/wp-content/uploads/2014/05/spark_logo.png"/>
            <p:cNvPicPr>
              <a:picLocks noChangeAspect="1" noChangeArrowheads="1"/>
            </p:cNvPicPr>
            <p:nvPr/>
          </p:nvPicPr>
          <p:blipFill>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089514" y="4488491"/>
              <a:ext cx="685956" cy="36424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15"/>
            <a:stretch>
              <a:fillRect/>
            </a:stretch>
          </p:blipFill>
          <p:spPr>
            <a:xfrm>
              <a:off x="11171483" y="5196817"/>
              <a:ext cx="522018" cy="513732"/>
            </a:xfrm>
            <a:prstGeom prst="rect">
              <a:avLst/>
            </a:prstGeom>
          </p:spPr>
        </p:pic>
        <p:sp>
          <p:nvSpPr>
            <p:cNvPr id="149" name="Freeform 148"/>
            <p:cNvSpPr>
              <a:spLocks noChangeAspect="1"/>
            </p:cNvSpPr>
            <p:nvPr/>
          </p:nvSpPr>
          <p:spPr bwMode="auto">
            <a:xfrm>
              <a:off x="11127938" y="3251675"/>
              <a:ext cx="609108" cy="427185"/>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91376" tIns="45688" rIns="91376" bIns="45688" numCol="1" anchor="t" anchorCtr="0" compatLnSpc="1">
              <a:prstTxWarp prst="textNoShape">
                <a:avLst/>
              </a:prstTxWarp>
            </a:bodyPr>
            <a:lstStyle/>
            <a:p>
              <a:pPr defTabSz="930968" fontAlgn="base">
                <a:spcBef>
                  <a:spcPct val="0"/>
                </a:spcBef>
                <a:spcAft>
                  <a:spcPct val="0"/>
                </a:spcAft>
              </a:pPr>
              <a:endParaRPr lang="en-IN" sz="1598" dirty="0">
                <a:solidFill>
                  <a:srgbClr val="000000"/>
                </a:solidFill>
              </a:endParaRPr>
            </a:p>
          </p:txBody>
        </p:sp>
      </p:grpSp>
      <p:sp>
        <p:nvSpPr>
          <p:cNvPr id="4" name="Slide Number Placeholder 3"/>
          <p:cNvSpPr>
            <a:spLocks noGrp="1"/>
          </p:cNvSpPr>
          <p:nvPr>
            <p:ph type="sldNum" sz="quarter" idx="11"/>
          </p:nvPr>
        </p:nvSpPr>
        <p:spPr/>
        <p:txBody>
          <a:bodyPr/>
          <a:lstStyle/>
          <a:p>
            <a:pPr>
              <a:defRPr/>
            </a:pPr>
            <a:fld id="{F8A0AC42-AA1D-4944-8D96-660DE70C7E1B}" type="slidenum">
              <a:rPr lang="en-US" smtClean="0"/>
              <a:pPr>
                <a:defRPr/>
              </a:pPr>
              <a:t>21</a:t>
            </a:fld>
            <a:endParaRPr lang="en-US" dirty="0"/>
          </a:p>
        </p:txBody>
      </p:sp>
      <p:grpSp>
        <p:nvGrpSpPr>
          <p:cNvPr id="12" name="Group 11"/>
          <p:cNvGrpSpPr/>
          <p:nvPr/>
        </p:nvGrpSpPr>
        <p:grpSpPr>
          <a:xfrm>
            <a:off x="4122674" y="2192595"/>
            <a:ext cx="3943628" cy="3943628"/>
            <a:chOff x="4041339" y="2149798"/>
            <a:chExt cx="3866653" cy="3866653"/>
          </a:xfrm>
          <a:solidFill>
            <a:schemeClr val="bg2">
              <a:lumMod val="75000"/>
              <a:lumOff val="25000"/>
            </a:schemeClr>
          </a:solidFill>
        </p:grpSpPr>
        <p:grpSp>
          <p:nvGrpSpPr>
            <p:cNvPr id="150" name="Group 149"/>
            <p:cNvGrpSpPr/>
            <p:nvPr/>
          </p:nvGrpSpPr>
          <p:grpSpPr>
            <a:xfrm>
              <a:off x="4041339" y="2149798"/>
              <a:ext cx="3866653" cy="3866653"/>
              <a:chOff x="4343750" y="2625235"/>
              <a:chExt cx="3657600" cy="3657600"/>
            </a:xfrm>
            <a:grpFill/>
          </p:grpSpPr>
          <p:sp>
            <p:nvSpPr>
              <p:cNvPr id="85" name="Oval 84"/>
              <p:cNvSpPr/>
              <p:nvPr/>
            </p:nvSpPr>
            <p:spPr bwMode="auto">
              <a:xfrm>
                <a:off x="4343750" y="2625235"/>
                <a:ext cx="3657600" cy="3657600"/>
              </a:xfrm>
              <a:prstGeom prst="ellipse">
                <a:avLst/>
              </a:prstGeom>
              <a:grp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nvGrpSpPr>
              <p:cNvPr id="79" name="Group 78"/>
              <p:cNvGrpSpPr/>
              <p:nvPr/>
            </p:nvGrpSpPr>
            <p:grpSpPr>
              <a:xfrm>
                <a:off x="4867139" y="4114334"/>
                <a:ext cx="2679835" cy="1182561"/>
                <a:chOff x="4724189" y="4114332"/>
                <a:chExt cx="3043313" cy="1342956"/>
              </a:xfrm>
              <a:grpFill/>
            </p:grpSpPr>
            <p:sp>
              <p:nvSpPr>
                <p:cNvPr id="162" name="TextBox 161"/>
                <p:cNvSpPr txBox="1"/>
                <p:nvPr/>
              </p:nvSpPr>
              <p:spPr>
                <a:xfrm>
                  <a:off x="5875137" y="4114332"/>
                  <a:ext cx="809242"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6" name="TextBox 165"/>
                <p:cNvSpPr txBox="1"/>
                <p:nvPr/>
              </p:nvSpPr>
              <p:spPr>
                <a:xfrm>
                  <a:off x="4724189"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7" name="TextBox 166"/>
                <p:cNvSpPr txBox="1"/>
                <p:nvPr/>
              </p:nvSpPr>
              <p:spPr>
                <a:xfrm>
                  <a:off x="5340570"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8" name="TextBox 167"/>
                <p:cNvSpPr txBox="1"/>
                <p:nvPr/>
              </p:nvSpPr>
              <p:spPr>
                <a:xfrm>
                  <a:off x="5953639" y="5048829"/>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69" name="TextBox 168"/>
                <p:cNvSpPr txBox="1"/>
                <p:nvPr/>
              </p:nvSpPr>
              <p:spPr>
                <a:xfrm>
                  <a:off x="6573332"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70" name="TextBox 169"/>
                <p:cNvSpPr txBox="1"/>
                <p:nvPr/>
              </p:nvSpPr>
              <p:spPr>
                <a:xfrm>
                  <a:off x="7189713" y="5016047"/>
                  <a:ext cx="577789" cy="408459"/>
                </a:xfrm>
                <a:prstGeom prst="rect">
                  <a:avLst/>
                </a:prstGeom>
                <a:solidFill>
                  <a:schemeClr val="bg2">
                    <a:lumMod val="25000"/>
                    <a:lumOff val="75000"/>
                  </a:schemeClr>
                </a:solidFill>
                <a:ln>
                  <a:noFill/>
                </a:ln>
              </p:spPr>
              <p:txBody>
                <a:bodyPr wrap="square" lIns="186521" tIns="149217" rIns="186521" bIns="149217" rtlCol="0">
                  <a:spAutoFit/>
                </a:bodyPr>
                <a:lstStyle/>
                <a:p>
                  <a:pPr algn="ctr" defTabSz="951304">
                    <a:lnSpc>
                      <a:spcPct val="90000"/>
                    </a:lnSpc>
                    <a:spcAft>
                      <a:spcPts val="612"/>
                    </a:spcAft>
                    <a:defRPr/>
                  </a:pPr>
                  <a:endParaRPr lang="en-US" sz="612" kern="0" dirty="0">
                    <a:solidFill>
                      <a:srgbClr val="505050"/>
                    </a:solidFill>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173" name="Straight Connector 172"/>
                <p:cNvCxnSpPr/>
                <p:nvPr/>
              </p:nvCxnSpPr>
              <p:spPr>
                <a:xfrm>
                  <a:off x="4992236" y="4703656"/>
                  <a:ext cx="2518251" cy="0"/>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5014649"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5615863"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281187"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7492655"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862358" y="4703656"/>
                  <a:ext cx="1" cy="276106"/>
                </a:xfrm>
                <a:prstGeom prst="line">
                  <a:avLst/>
                </a:prstGeom>
                <a:grpFill/>
                <a:ln w="38100">
                  <a:solidFill>
                    <a:srgbClr val="94BEFF"/>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281187" y="4487567"/>
                  <a:ext cx="1" cy="276106"/>
                </a:xfrm>
                <a:prstGeom prst="line">
                  <a:avLst/>
                </a:prstGeom>
                <a:grpFill/>
                <a:ln w="38100">
                  <a:solidFill>
                    <a:srgbClr val="94BE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5534789" y="3621408"/>
                <a:ext cx="1344535" cy="369332"/>
              </a:xfrm>
              <a:prstGeom prst="rect">
                <a:avLst/>
              </a:prstGeom>
              <a:grpFill/>
            </p:spPr>
            <p:txBody>
              <a:bodyPr wrap="square" lIns="0" tIns="0" rIns="0" bIns="0" rtlCol="0">
                <a:noAutofit/>
              </a:bodyPr>
              <a:lstStyle/>
              <a:p>
                <a:r>
                  <a:rPr lang="en-US" sz="2448" dirty="0"/>
                  <a:t>ADL Store</a:t>
                </a:r>
              </a:p>
            </p:txBody>
          </p:sp>
        </p:grpSp>
        <p:pic>
          <p:nvPicPr>
            <p:cNvPr id="10" name="Picture 9"/>
            <p:cNvPicPr>
              <a:picLocks noChangeAspect="1"/>
            </p:cNvPicPr>
            <p:nvPr/>
          </p:nvPicPr>
          <p:blipFill>
            <a:blip r:embed="rId16">
              <a:biLevel thresh="25000"/>
              <a:extLst>
                <a:ext uri="{28A0092B-C50C-407E-A947-70E740481C1C}">
                  <a14:useLocalDpi xmlns:a14="http://schemas.microsoft.com/office/drawing/2010/main" val="0"/>
                </a:ext>
              </a:extLst>
            </a:blip>
            <a:stretch>
              <a:fillRect/>
            </a:stretch>
          </p:blipFill>
          <p:spPr>
            <a:xfrm>
              <a:off x="5614590" y="2274969"/>
              <a:ext cx="793106" cy="793104"/>
            </a:xfrm>
            <a:prstGeom prst="rect">
              <a:avLst/>
            </a:prstGeom>
            <a:grpFill/>
          </p:spPr>
        </p:pic>
      </p:grpSp>
    </p:spTree>
    <p:extLst>
      <p:ext uri="{BB962C8B-B14F-4D97-AF65-F5344CB8AC3E}">
        <p14:creationId xmlns:p14="http://schemas.microsoft.com/office/powerpoint/2010/main" val="3850804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fade">
                                      <p:cBhvr>
                                        <p:cTn id="11" dur="750"/>
                                        <p:tgtEl>
                                          <p:spTgt spid="76"/>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750"/>
                                        <p:tgtEl>
                                          <p:spTgt spid="12"/>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9734735"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Enterprise-grade</a:t>
            </a:r>
          </a:p>
        </p:txBody>
      </p:sp>
      <p:sp>
        <p:nvSpPr>
          <p:cNvPr id="16" name="Rectangle 15"/>
          <p:cNvSpPr/>
          <p:nvPr/>
        </p:nvSpPr>
        <p:spPr bwMode="auto">
          <a:xfrm>
            <a:off x="7410908"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Limitless scale</a:t>
            </a:r>
          </a:p>
        </p:txBody>
      </p:sp>
      <p:sp>
        <p:nvSpPr>
          <p:cNvPr id="15" name="Rectangle 14"/>
          <p:cNvSpPr/>
          <p:nvPr/>
        </p:nvSpPr>
        <p:spPr bwMode="auto">
          <a:xfrm>
            <a:off x="2763253"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Productivity from day one</a:t>
            </a:r>
          </a:p>
        </p:txBody>
      </p:sp>
      <p:sp>
        <p:nvSpPr>
          <p:cNvPr id="38" name="Rectangle 37"/>
          <p:cNvSpPr/>
          <p:nvPr/>
        </p:nvSpPr>
        <p:spPr bwMode="auto">
          <a:xfrm>
            <a:off x="5087081"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Easy and powerful data preparation</a:t>
            </a:r>
          </a:p>
        </p:txBody>
      </p:sp>
      <p:sp>
        <p:nvSpPr>
          <p:cNvPr id="36" name="Rectangle 35"/>
          <p:cNvSpPr/>
          <p:nvPr/>
        </p:nvSpPr>
        <p:spPr bwMode="auto">
          <a:xfrm>
            <a:off x="439426" y="2029409"/>
            <a:ext cx="2269627" cy="3828914"/>
          </a:xfrm>
          <a:prstGeom prst="rect">
            <a:avLst/>
          </a:prstGeom>
          <a:solidFill>
            <a:srgbClr val="002050"/>
          </a:solidFill>
          <a:ln w="38100">
            <a:solidFill>
              <a:srgbClr val="94B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9326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3260" defTabSz="950989" fontAlgn="base">
              <a:spcBef>
                <a:spcPct val="0"/>
              </a:spcBef>
              <a:spcAft>
                <a:spcPct val="0"/>
              </a:spcAft>
            </a:pPr>
            <a:r>
              <a:rPr lang="en-US" sz="2448" dirty="0">
                <a:solidFill>
                  <a:srgbClr val="FFFFFF"/>
                </a:solidFill>
                <a:latin typeface="+mj-lt"/>
                <a:ea typeface="Segoe UI" pitchFamily="34" charset="0"/>
                <a:cs typeface="Segoe UI Semibold" panose="020B0702040204020203" pitchFamily="34" charset="0"/>
              </a:rPr>
              <a:t>All data</a:t>
            </a:r>
          </a:p>
        </p:txBody>
      </p:sp>
      <p:sp>
        <p:nvSpPr>
          <p:cNvPr id="2" name="Slide Number Placeholder 1"/>
          <p:cNvSpPr>
            <a:spLocks noGrp="1"/>
          </p:cNvSpPr>
          <p:nvPr>
            <p:ph type="sldNum" sz="quarter" idx="4294967295"/>
          </p:nvPr>
        </p:nvSpPr>
        <p:spPr>
          <a:xfrm>
            <a:off x="11594338" y="6761307"/>
            <a:ext cx="566657" cy="136525"/>
          </a:xfrm>
          <a:prstGeom prst="rect">
            <a:avLst/>
          </a:prstGeom>
        </p:spPr>
        <p:txBody>
          <a:bodyPr/>
          <a:lstStyle/>
          <a:p>
            <a:pPr>
              <a:defRPr/>
            </a:pPr>
            <a:fld id="{75FAD755-3BD0-2447-A9DF-109DAABEFD99}" type="slidenum">
              <a:rPr smtClean="0"/>
              <a:pPr>
                <a:defRPr/>
              </a:pPr>
              <a:t>22</a:t>
            </a:fld>
            <a:endParaRPr dirty="0"/>
          </a:p>
        </p:txBody>
      </p:sp>
      <p:sp>
        <p:nvSpPr>
          <p:cNvPr id="5" name="Freeform 5"/>
          <p:cNvSpPr>
            <a:spLocks/>
          </p:cNvSpPr>
          <p:nvPr/>
        </p:nvSpPr>
        <p:spPr bwMode="auto">
          <a:xfrm>
            <a:off x="2940482" y="4141049"/>
            <a:ext cx="1878448" cy="1514580"/>
          </a:xfrm>
          <a:custGeom>
            <a:avLst/>
            <a:gdLst>
              <a:gd name="T0" fmla="*/ 8 w 1476"/>
              <a:gd name="T1" fmla="*/ 513 h 513"/>
              <a:gd name="T2" fmla="*/ 0 w 1476"/>
              <a:gd name="T3" fmla="*/ 478 h 513"/>
              <a:gd name="T4" fmla="*/ 429 w 1476"/>
              <a:gd name="T5" fmla="*/ 374 h 513"/>
              <a:gd name="T6" fmla="*/ 780 w 1476"/>
              <a:gd name="T7" fmla="*/ 155 h 513"/>
              <a:gd name="T8" fmla="*/ 1213 w 1476"/>
              <a:gd name="T9" fmla="*/ 138 h 513"/>
              <a:gd name="T10" fmla="*/ 1476 w 1476"/>
              <a:gd name="T11" fmla="*/ 0 h 513"/>
              <a:gd name="T12" fmla="*/ 1476 w 1476"/>
              <a:gd name="T13" fmla="*/ 0 h 513"/>
              <a:gd name="T14" fmla="*/ 1476 w 1476"/>
              <a:gd name="T15" fmla="*/ 36 h 513"/>
              <a:gd name="T16" fmla="*/ 1476 w 1476"/>
              <a:gd name="T17" fmla="*/ 39 h 513"/>
              <a:gd name="T18" fmla="*/ 1222 w 1476"/>
              <a:gd name="T19" fmla="*/ 175 h 513"/>
              <a:gd name="T20" fmla="*/ 792 w 1476"/>
              <a:gd name="T21" fmla="*/ 190 h 513"/>
              <a:gd name="T22" fmla="*/ 443 w 1476"/>
              <a:gd name="T23" fmla="*/ 407 h 513"/>
              <a:gd name="T24" fmla="*/ 8 w 1476"/>
              <a:gd name="T25"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3">
                <a:moveTo>
                  <a:pt x="8" y="513"/>
                </a:moveTo>
                <a:lnTo>
                  <a:pt x="0" y="478"/>
                </a:lnTo>
                <a:lnTo>
                  <a:pt x="429" y="374"/>
                </a:lnTo>
                <a:lnTo>
                  <a:pt x="780" y="155"/>
                </a:lnTo>
                <a:lnTo>
                  <a:pt x="1213" y="138"/>
                </a:lnTo>
                <a:lnTo>
                  <a:pt x="1476" y="0"/>
                </a:lnTo>
                <a:lnTo>
                  <a:pt x="1476" y="0"/>
                </a:lnTo>
                <a:lnTo>
                  <a:pt x="1476" y="36"/>
                </a:lnTo>
                <a:lnTo>
                  <a:pt x="1476" y="39"/>
                </a:lnTo>
                <a:lnTo>
                  <a:pt x="1222" y="175"/>
                </a:lnTo>
                <a:lnTo>
                  <a:pt x="792" y="190"/>
                </a:lnTo>
                <a:lnTo>
                  <a:pt x="443" y="407"/>
                </a:lnTo>
                <a:lnTo>
                  <a:pt x="8" y="513"/>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55" name="Isosceles Triangle 554"/>
          <p:cNvSpPr/>
          <p:nvPr/>
        </p:nvSpPr>
        <p:spPr bwMode="auto">
          <a:xfrm rot="2530879">
            <a:off x="4702316" y="4036340"/>
            <a:ext cx="283653" cy="311378"/>
          </a:xfrm>
          <a:prstGeom prst="triangle">
            <a:avLst/>
          </a:prstGeom>
          <a:solidFill>
            <a:schemeClr val="accent5"/>
          </a:solidFill>
          <a:ln>
            <a:noFill/>
          </a:ln>
        </p:spPr>
        <p:txBody>
          <a:bodyPr vert="horz" wrap="square" lIns="93260" tIns="46630" rIns="93260" bIns="46630" numCol="1" anchor="t" anchorCtr="0" compatLnSpc="1">
            <a:prstTxWarp prst="textNoShape">
              <a:avLst/>
            </a:prstTxWarp>
          </a:bodyPr>
          <a:lstStyle/>
          <a:p>
            <a:endParaRPr lang="en-US" sz="1836" dirty="0">
              <a:solidFill>
                <a:srgbClr val="000000"/>
              </a:solidFill>
            </a:endParaRPr>
          </a:p>
        </p:txBody>
      </p:sp>
      <p:sp>
        <p:nvSpPr>
          <p:cNvPr id="558" name="Freeform 557"/>
          <p:cNvSpPr/>
          <p:nvPr/>
        </p:nvSpPr>
        <p:spPr bwMode="auto">
          <a:xfrm>
            <a:off x="2930661" y="3882358"/>
            <a:ext cx="1890266" cy="1779528"/>
          </a:xfrm>
          <a:custGeom>
            <a:avLst/>
            <a:gdLst>
              <a:gd name="connsiteX0" fmla="*/ 0 w 4470400"/>
              <a:gd name="connsiteY0" fmla="*/ 0 h 1866900"/>
              <a:gd name="connsiteX1" fmla="*/ 0 w 4470400"/>
              <a:gd name="connsiteY1" fmla="*/ 1866900 h 1866900"/>
              <a:gd name="connsiteX2" fmla="*/ 4470400 w 4470400"/>
              <a:gd name="connsiteY2" fmla="*/ 1866900 h 1866900"/>
            </a:gdLst>
            <a:ahLst/>
            <a:cxnLst>
              <a:cxn ang="0">
                <a:pos x="connsiteX0" y="connsiteY0"/>
              </a:cxn>
              <a:cxn ang="0">
                <a:pos x="connsiteX1" y="connsiteY1"/>
              </a:cxn>
              <a:cxn ang="0">
                <a:pos x="connsiteX2" y="connsiteY2"/>
              </a:cxn>
            </a:cxnLst>
            <a:rect l="l" t="t" r="r" b="b"/>
            <a:pathLst>
              <a:path w="4470400" h="1866900">
                <a:moveTo>
                  <a:pt x="0" y="0"/>
                </a:moveTo>
                <a:lnTo>
                  <a:pt x="0" y="1866900"/>
                </a:lnTo>
                <a:lnTo>
                  <a:pt x="4470400" y="1866900"/>
                </a:lnTo>
              </a:path>
            </a:pathLst>
          </a:custGeom>
          <a:ln w="38100">
            <a:solidFill>
              <a:srgbClr val="FFB9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solidFill>
                <a:srgbClr val="000000"/>
              </a:solidFill>
            </a:endParaRPr>
          </a:p>
        </p:txBody>
      </p:sp>
      <p:pic>
        <p:nvPicPr>
          <p:cNvPr id="592" name="Picture 591"/>
          <p:cNvPicPr>
            <a:picLocks noChangeAspect="1"/>
          </p:cNvPicPr>
          <p:nvPr/>
        </p:nvPicPr>
        <p:blipFill>
          <a:blip r:embed="rId3"/>
          <a:stretch>
            <a:fillRect/>
          </a:stretch>
        </p:blipFill>
        <p:spPr>
          <a:xfrm>
            <a:off x="9329214" y="3401056"/>
            <a:ext cx="1781790" cy="1781790"/>
          </a:xfrm>
          <a:prstGeom prst="rect">
            <a:avLst/>
          </a:prstGeom>
        </p:spPr>
      </p:pic>
      <p:pic>
        <p:nvPicPr>
          <p:cNvPr id="610" name="Picture 609"/>
          <p:cNvPicPr>
            <a:picLocks noChangeAspect="1"/>
          </p:cNvPicPr>
          <p:nvPr/>
        </p:nvPicPr>
        <p:blipFill>
          <a:blip r:embed="rId4"/>
          <a:stretch>
            <a:fillRect/>
          </a:stretch>
        </p:blipFill>
        <p:spPr>
          <a:xfrm>
            <a:off x="10383462" y="3829323"/>
            <a:ext cx="2041657" cy="2041657"/>
          </a:xfrm>
          <a:prstGeom prst="rect">
            <a:avLst/>
          </a:prstGeom>
        </p:spPr>
      </p:pic>
      <p:pic>
        <p:nvPicPr>
          <p:cNvPr id="611" name="Picture 610"/>
          <p:cNvPicPr>
            <a:picLocks noChangeAspect="1"/>
          </p:cNvPicPr>
          <p:nvPr/>
        </p:nvPicPr>
        <p:blipFill>
          <a:blip r:embed="rId5"/>
          <a:stretch>
            <a:fillRect/>
          </a:stretch>
        </p:blipFill>
        <p:spPr>
          <a:xfrm>
            <a:off x="9897003" y="4996328"/>
            <a:ext cx="816871" cy="558912"/>
          </a:xfrm>
          <a:prstGeom prst="rect">
            <a:avLst/>
          </a:prstGeom>
        </p:spPr>
      </p:pic>
      <p:pic>
        <p:nvPicPr>
          <p:cNvPr id="620" name="Picture 619"/>
          <p:cNvPicPr>
            <a:picLocks noChangeAspect="1"/>
          </p:cNvPicPr>
          <p:nvPr/>
        </p:nvPicPr>
        <p:blipFill>
          <a:blip r:embed="rId6"/>
          <a:stretch>
            <a:fillRect/>
          </a:stretch>
        </p:blipFill>
        <p:spPr>
          <a:xfrm>
            <a:off x="4964854" y="3466477"/>
            <a:ext cx="2611289" cy="2611289"/>
          </a:xfrm>
          <a:prstGeom prst="rect">
            <a:avLst/>
          </a:prstGeom>
        </p:spPr>
      </p:pic>
      <p:sp>
        <p:nvSpPr>
          <p:cNvPr id="819" name="Rectangle 818"/>
          <p:cNvSpPr/>
          <p:nvPr/>
        </p:nvSpPr>
        <p:spPr>
          <a:xfrm>
            <a:off x="351074" y="4100620"/>
            <a:ext cx="2435661" cy="1819088"/>
          </a:xfrm>
          <a:prstGeom prst="rect">
            <a:avLst/>
          </a:prstGeom>
        </p:spPr>
        <p:txBody>
          <a:bodyPr wrap="square">
            <a:spAutoFit/>
          </a:bodyPr>
          <a:lstStyle/>
          <a:p>
            <a:pPr defTabSz="931881">
              <a:defRPr/>
            </a:pPr>
            <a:r>
              <a:rPr lang="en-US" sz="1122" kern="0" dirty="0">
                <a:solidFill>
                  <a:schemeClr val="accent1">
                    <a:lumMod val="75000"/>
                    <a:lumOff val="25000"/>
                  </a:schemeClr>
                </a:solidFill>
                <a:latin typeface="Segoe UI Semibold" panose="020B0702040204020203" pitchFamily="34" charset="0"/>
                <a:cs typeface="Segoe UI Semibold" panose="020B0702040204020203" pitchFamily="34" charset="0"/>
              </a:rPr>
              <a:t>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100010101010010100</a:t>
            </a:r>
          </a:p>
        </p:txBody>
      </p:sp>
      <p:grpSp>
        <p:nvGrpSpPr>
          <p:cNvPr id="711" name="Group 710"/>
          <p:cNvGrpSpPr/>
          <p:nvPr/>
        </p:nvGrpSpPr>
        <p:grpSpPr>
          <a:xfrm>
            <a:off x="1200646" y="4169184"/>
            <a:ext cx="929609" cy="826884"/>
            <a:chOff x="6942579" y="498882"/>
            <a:chExt cx="287338" cy="255587"/>
          </a:xfrm>
        </p:grpSpPr>
        <p:sp>
          <p:nvSpPr>
            <p:cNvPr id="640" name="Freeform 96"/>
            <p:cNvSpPr>
              <a:spLocks/>
            </p:cNvSpPr>
            <p:nvPr/>
          </p:nvSpPr>
          <p:spPr bwMode="auto">
            <a:xfrm>
              <a:off x="7006079" y="605244"/>
              <a:ext cx="153988" cy="57150"/>
            </a:xfrm>
            <a:custGeom>
              <a:avLst/>
              <a:gdLst>
                <a:gd name="T0" fmla="*/ 100 w 206"/>
                <a:gd name="T1" fmla="*/ 0 h 77"/>
                <a:gd name="T2" fmla="*/ 0 w 206"/>
                <a:gd name="T3" fmla="*/ 40 h 77"/>
                <a:gd name="T4" fmla="*/ 24 w 206"/>
                <a:gd name="T5" fmla="*/ 72 h 77"/>
                <a:gd name="T6" fmla="*/ 100 w 206"/>
                <a:gd name="T7" fmla="*/ 40 h 77"/>
                <a:gd name="T8" fmla="*/ 180 w 206"/>
                <a:gd name="T9" fmla="*/ 77 h 77"/>
                <a:gd name="T10" fmla="*/ 206 w 206"/>
                <a:gd name="T11" fmla="*/ 46 h 77"/>
                <a:gd name="T12" fmla="*/ 100 w 206"/>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206" h="77">
                  <a:moveTo>
                    <a:pt x="100" y="0"/>
                  </a:moveTo>
                  <a:cubicBezTo>
                    <a:pt x="61" y="0"/>
                    <a:pt x="26" y="15"/>
                    <a:pt x="0" y="40"/>
                  </a:cubicBezTo>
                  <a:cubicBezTo>
                    <a:pt x="24" y="72"/>
                    <a:pt x="24" y="72"/>
                    <a:pt x="24" y="72"/>
                  </a:cubicBezTo>
                  <a:cubicBezTo>
                    <a:pt x="43" y="53"/>
                    <a:pt x="70" y="40"/>
                    <a:pt x="100" y="40"/>
                  </a:cubicBezTo>
                  <a:cubicBezTo>
                    <a:pt x="132" y="40"/>
                    <a:pt x="160" y="55"/>
                    <a:pt x="180" y="77"/>
                  </a:cubicBezTo>
                  <a:cubicBezTo>
                    <a:pt x="206" y="46"/>
                    <a:pt x="206" y="46"/>
                    <a:pt x="206" y="46"/>
                  </a:cubicBezTo>
                  <a:cubicBezTo>
                    <a:pt x="179" y="18"/>
                    <a:pt x="142"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1" name="Freeform 97"/>
            <p:cNvSpPr>
              <a:spLocks/>
            </p:cNvSpPr>
            <p:nvPr/>
          </p:nvSpPr>
          <p:spPr bwMode="auto">
            <a:xfrm>
              <a:off x="6974329" y="551269"/>
              <a:ext cx="220663" cy="71438"/>
            </a:xfrm>
            <a:custGeom>
              <a:avLst/>
              <a:gdLst>
                <a:gd name="T0" fmla="*/ 0 w 295"/>
                <a:gd name="T1" fmla="*/ 53 h 94"/>
                <a:gd name="T2" fmla="*/ 24 w 295"/>
                <a:gd name="T3" fmla="*/ 85 h 94"/>
                <a:gd name="T4" fmla="*/ 142 w 295"/>
                <a:gd name="T5" fmla="*/ 40 h 94"/>
                <a:gd name="T6" fmla="*/ 269 w 295"/>
                <a:gd name="T7" fmla="*/ 94 h 94"/>
                <a:gd name="T8" fmla="*/ 295 w 295"/>
                <a:gd name="T9" fmla="*/ 64 h 94"/>
                <a:gd name="T10" fmla="*/ 142 w 295"/>
                <a:gd name="T11" fmla="*/ 0 h 94"/>
                <a:gd name="T12" fmla="*/ 0 w 295"/>
                <a:gd name="T13" fmla="*/ 53 h 94"/>
              </a:gdLst>
              <a:ahLst/>
              <a:cxnLst>
                <a:cxn ang="0">
                  <a:pos x="T0" y="T1"/>
                </a:cxn>
                <a:cxn ang="0">
                  <a:pos x="T2" y="T3"/>
                </a:cxn>
                <a:cxn ang="0">
                  <a:pos x="T4" y="T5"/>
                </a:cxn>
                <a:cxn ang="0">
                  <a:pos x="T6" y="T7"/>
                </a:cxn>
                <a:cxn ang="0">
                  <a:pos x="T8" y="T9"/>
                </a:cxn>
                <a:cxn ang="0">
                  <a:pos x="T10" y="T11"/>
                </a:cxn>
                <a:cxn ang="0">
                  <a:pos x="T12" y="T13"/>
                </a:cxn>
              </a:cxnLst>
              <a:rect l="0" t="0" r="r" b="b"/>
              <a:pathLst>
                <a:path w="295" h="94">
                  <a:moveTo>
                    <a:pt x="0" y="53"/>
                  </a:moveTo>
                  <a:cubicBezTo>
                    <a:pt x="24" y="85"/>
                    <a:pt x="24" y="85"/>
                    <a:pt x="24" y="85"/>
                  </a:cubicBezTo>
                  <a:cubicBezTo>
                    <a:pt x="55" y="57"/>
                    <a:pt x="96" y="40"/>
                    <a:pt x="142" y="40"/>
                  </a:cubicBezTo>
                  <a:cubicBezTo>
                    <a:pt x="192" y="40"/>
                    <a:pt x="237" y="61"/>
                    <a:pt x="269" y="94"/>
                  </a:cubicBezTo>
                  <a:cubicBezTo>
                    <a:pt x="295" y="64"/>
                    <a:pt x="295" y="64"/>
                    <a:pt x="295" y="64"/>
                  </a:cubicBezTo>
                  <a:cubicBezTo>
                    <a:pt x="256" y="25"/>
                    <a:pt x="201" y="0"/>
                    <a:pt x="142" y="0"/>
                  </a:cubicBezTo>
                  <a:cubicBezTo>
                    <a:pt x="88" y="0"/>
                    <a:pt x="38" y="20"/>
                    <a:pt x="0"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2" name="Freeform 98"/>
            <p:cNvSpPr>
              <a:spLocks/>
            </p:cNvSpPr>
            <p:nvPr/>
          </p:nvSpPr>
          <p:spPr bwMode="auto">
            <a:xfrm>
              <a:off x="6942579" y="498882"/>
              <a:ext cx="287338" cy="82550"/>
            </a:xfrm>
            <a:custGeom>
              <a:avLst/>
              <a:gdLst>
                <a:gd name="T0" fmla="*/ 184 w 384"/>
                <a:gd name="T1" fmla="*/ 40 h 111"/>
                <a:gd name="T2" fmla="*/ 358 w 384"/>
                <a:gd name="T3" fmla="*/ 111 h 111"/>
                <a:gd name="T4" fmla="*/ 384 w 384"/>
                <a:gd name="T5" fmla="*/ 81 h 111"/>
                <a:gd name="T6" fmla="*/ 184 w 384"/>
                <a:gd name="T7" fmla="*/ 0 h 111"/>
                <a:gd name="T8" fmla="*/ 0 w 384"/>
                <a:gd name="T9" fmla="*/ 66 h 111"/>
                <a:gd name="T10" fmla="*/ 24 w 384"/>
                <a:gd name="T11" fmla="*/ 99 h 111"/>
                <a:gd name="T12" fmla="*/ 184 w 384"/>
                <a:gd name="T13" fmla="*/ 40 h 111"/>
              </a:gdLst>
              <a:ahLst/>
              <a:cxnLst>
                <a:cxn ang="0">
                  <a:pos x="T0" y="T1"/>
                </a:cxn>
                <a:cxn ang="0">
                  <a:pos x="T2" y="T3"/>
                </a:cxn>
                <a:cxn ang="0">
                  <a:pos x="T4" y="T5"/>
                </a:cxn>
                <a:cxn ang="0">
                  <a:pos x="T6" y="T7"/>
                </a:cxn>
                <a:cxn ang="0">
                  <a:pos x="T8" y="T9"/>
                </a:cxn>
                <a:cxn ang="0">
                  <a:pos x="T10" y="T11"/>
                </a:cxn>
                <a:cxn ang="0">
                  <a:pos x="T12" y="T13"/>
                </a:cxn>
              </a:cxnLst>
              <a:rect l="0" t="0" r="r" b="b"/>
              <a:pathLst>
                <a:path w="384" h="111">
                  <a:moveTo>
                    <a:pt x="184" y="40"/>
                  </a:moveTo>
                  <a:cubicBezTo>
                    <a:pt x="251" y="40"/>
                    <a:pt x="313" y="67"/>
                    <a:pt x="358" y="111"/>
                  </a:cubicBezTo>
                  <a:cubicBezTo>
                    <a:pt x="384" y="81"/>
                    <a:pt x="384" y="81"/>
                    <a:pt x="384" y="81"/>
                  </a:cubicBezTo>
                  <a:cubicBezTo>
                    <a:pt x="332" y="31"/>
                    <a:pt x="261" y="0"/>
                    <a:pt x="184" y="0"/>
                  </a:cubicBezTo>
                  <a:cubicBezTo>
                    <a:pt x="114" y="0"/>
                    <a:pt x="50" y="25"/>
                    <a:pt x="0" y="66"/>
                  </a:cubicBezTo>
                  <a:cubicBezTo>
                    <a:pt x="24" y="99"/>
                    <a:pt x="24" y="99"/>
                    <a:pt x="24" y="99"/>
                  </a:cubicBezTo>
                  <a:cubicBezTo>
                    <a:pt x="67" y="62"/>
                    <a:pt x="123" y="40"/>
                    <a:pt x="18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643" name="Oval 99"/>
            <p:cNvSpPr>
              <a:spLocks noChangeArrowheads="1"/>
            </p:cNvSpPr>
            <p:nvPr/>
          </p:nvSpPr>
          <p:spPr bwMode="auto">
            <a:xfrm>
              <a:off x="7039416" y="675094"/>
              <a:ext cx="80963"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765" name="Group 764"/>
          <p:cNvGrpSpPr/>
          <p:nvPr/>
        </p:nvGrpSpPr>
        <p:grpSpPr>
          <a:xfrm>
            <a:off x="566231" y="4301609"/>
            <a:ext cx="781744" cy="1359761"/>
            <a:chOff x="844550" y="3381375"/>
            <a:chExt cx="523875" cy="911225"/>
          </a:xfrm>
        </p:grpSpPr>
        <p:sp>
          <p:nvSpPr>
            <p:cNvPr id="716" name="Freeform 171"/>
            <p:cNvSpPr>
              <a:spLocks noEditPoints="1"/>
            </p:cNvSpPr>
            <p:nvPr/>
          </p:nvSpPr>
          <p:spPr bwMode="auto">
            <a:xfrm>
              <a:off x="920750" y="3443288"/>
              <a:ext cx="195262" cy="198437"/>
            </a:xfrm>
            <a:custGeom>
              <a:avLst/>
              <a:gdLst>
                <a:gd name="T0" fmla="*/ 34 w 69"/>
                <a:gd name="T1" fmla="*/ 70 h 70"/>
                <a:gd name="T2" fmla="*/ 0 w 69"/>
                <a:gd name="T3" fmla="*/ 35 h 70"/>
                <a:gd name="T4" fmla="*/ 34 w 69"/>
                <a:gd name="T5" fmla="*/ 0 h 70"/>
                <a:gd name="T6" fmla="*/ 69 w 69"/>
                <a:gd name="T7" fmla="*/ 35 h 70"/>
                <a:gd name="T8" fmla="*/ 34 w 69"/>
                <a:gd name="T9" fmla="*/ 70 h 70"/>
                <a:gd name="T10" fmla="*/ 34 w 69"/>
                <a:gd name="T11" fmla="*/ 4 h 70"/>
                <a:gd name="T12" fmla="*/ 3 w 69"/>
                <a:gd name="T13" fmla="*/ 35 h 70"/>
                <a:gd name="T14" fmla="*/ 34 w 69"/>
                <a:gd name="T15" fmla="*/ 66 h 70"/>
                <a:gd name="T16" fmla="*/ 65 w 69"/>
                <a:gd name="T17" fmla="*/ 35 h 70"/>
                <a:gd name="T18" fmla="*/ 34 w 69"/>
                <a:gd name="T1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4" y="70"/>
                  </a:moveTo>
                  <a:cubicBezTo>
                    <a:pt x="15" y="70"/>
                    <a:pt x="0" y="54"/>
                    <a:pt x="0" y="35"/>
                  </a:cubicBezTo>
                  <a:cubicBezTo>
                    <a:pt x="0" y="16"/>
                    <a:pt x="15" y="0"/>
                    <a:pt x="34" y="0"/>
                  </a:cubicBezTo>
                  <a:cubicBezTo>
                    <a:pt x="53" y="0"/>
                    <a:pt x="69" y="16"/>
                    <a:pt x="69" y="35"/>
                  </a:cubicBezTo>
                  <a:cubicBezTo>
                    <a:pt x="69" y="54"/>
                    <a:pt x="53" y="70"/>
                    <a:pt x="34" y="70"/>
                  </a:cubicBezTo>
                  <a:close/>
                  <a:moveTo>
                    <a:pt x="34" y="4"/>
                  </a:moveTo>
                  <a:cubicBezTo>
                    <a:pt x="17" y="4"/>
                    <a:pt x="3" y="18"/>
                    <a:pt x="3" y="35"/>
                  </a:cubicBezTo>
                  <a:cubicBezTo>
                    <a:pt x="3" y="52"/>
                    <a:pt x="17" y="66"/>
                    <a:pt x="34" y="66"/>
                  </a:cubicBezTo>
                  <a:cubicBezTo>
                    <a:pt x="51" y="66"/>
                    <a:pt x="65" y="52"/>
                    <a:pt x="65" y="35"/>
                  </a:cubicBezTo>
                  <a:cubicBezTo>
                    <a:pt x="65" y="18"/>
                    <a:pt x="51" y="4"/>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7" name="Freeform 172"/>
            <p:cNvSpPr>
              <a:spLocks noEditPoints="1"/>
            </p:cNvSpPr>
            <p:nvPr/>
          </p:nvSpPr>
          <p:spPr bwMode="auto">
            <a:xfrm>
              <a:off x="855663" y="3381375"/>
              <a:ext cx="325437" cy="322262"/>
            </a:xfrm>
            <a:custGeom>
              <a:avLst/>
              <a:gdLst>
                <a:gd name="T0" fmla="*/ 57 w 115"/>
                <a:gd name="T1" fmla="*/ 114 h 114"/>
                <a:gd name="T2" fmla="*/ 0 w 115"/>
                <a:gd name="T3" fmla="*/ 57 h 114"/>
                <a:gd name="T4" fmla="*/ 57 w 115"/>
                <a:gd name="T5" fmla="*/ 0 h 114"/>
                <a:gd name="T6" fmla="*/ 115 w 115"/>
                <a:gd name="T7" fmla="*/ 57 h 114"/>
                <a:gd name="T8" fmla="*/ 57 w 115"/>
                <a:gd name="T9" fmla="*/ 114 h 114"/>
                <a:gd name="T10" fmla="*/ 57 w 115"/>
                <a:gd name="T11" fmla="*/ 3 h 114"/>
                <a:gd name="T12" fmla="*/ 3 w 115"/>
                <a:gd name="T13" fmla="*/ 57 h 114"/>
                <a:gd name="T14" fmla="*/ 57 w 115"/>
                <a:gd name="T15" fmla="*/ 111 h 114"/>
                <a:gd name="T16" fmla="*/ 111 w 115"/>
                <a:gd name="T17" fmla="*/ 57 h 114"/>
                <a:gd name="T18" fmla="*/ 57 w 115"/>
                <a:gd name="T19"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4">
                  <a:moveTo>
                    <a:pt x="57" y="114"/>
                  </a:moveTo>
                  <a:cubicBezTo>
                    <a:pt x="26" y="114"/>
                    <a:pt x="0" y="89"/>
                    <a:pt x="0" y="57"/>
                  </a:cubicBezTo>
                  <a:cubicBezTo>
                    <a:pt x="0" y="25"/>
                    <a:pt x="26" y="0"/>
                    <a:pt x="57" y="0"/>
                  </a:cubicBezTo>
                  <a:cubicBezTo>
                    <a:pt x="89" y="0"/>
                    <a:pt x="115" y="25"/>
                    <a:pt x="115" y="57"/>
                  </a:cubicBezTo>
                  <a:cubicBezTo>
                    <a:pt x="115" y="89"/>
                    <a:pt x="89" y="114"/>
                    <a:pt x="57" y="114"/>
                  </a:cubicBezTo>
                  <a:close/>
                  <a:moveTo>
                    <a:pt x="57" y="3"/>
                  </a:moveTo>
                  <a:cubicBezTo>
                    <a:pt x="28" y="3"/>
                    <a:pt x="3" y="27"/>
                    <a:pt x="3" y="57"/>
                  </a:cubicBezTo>
                  <a:cubicBezTo>
                    <a:pt x="3" y="87"/>
                    <a:pt x="28" y="111"/>
                    <a:pt x="57" y="111"/>
                  </a:cubicBezTo>
                  <a:cubicBezTo>
                    <a:pt x="87" y="111"/>
                    <a:pt x="111" y="87"/>
                    <a:pt x="111" y="57"/>
                  </a:cubicBezTo>
                  <a:cubicBezTo>
                    <a:pt x="111" y="27"/>
                    <a:pt x="87" y="3"/>
                    <a:pt x="57"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18" name="Freeform 173"/>
            <p:cNvSpPr>
              <a:spLocks/>
            </p:cNvSpPr>
            <p:nvPr/>
          </p:nvSpPr>
          <p:spPr bwMode="auto">
            <a:xfrm>
              <a:off x="844550" y="3497263"/>
              <a:ext cx="523875" cy="795337"/>
            </a:xfrm>
            <a:custGeom>
              <a:avLst/>
              <a:gdLst>
                <a:gd name="T0" fmla="*/ 184 w 185"/>
                <a:gd name="T1" fmla="*/ 196 h 281"/>
                <a:gd name="T2" fmla="*/ 185 w 185"/>
                <a:gd name="T3" fmla="*/ 189 h 281"/>
                <a:gd name="T4" fmla="*/ 184 w 185"/>
                <a:gd name="T5" fmla="*/ 189 h 281"/>
                <a:gd name="T6" fmla="*/ 184 w 185"/>
                <a:gd name="T7" fmla="*/ 159 h 281"/>
                <a:gd name="T8" fmla="*/ 184 w 185"/>
                <a:gd name="T9" fmla="*/ 121 h 281"/>
                <a:gd name="T10" fmla="*/ 184 w 185"/>
                <a:gd name="T11" fmla="*/ 121 h 281"/>
                <a:gd name="T12" fmla="*/ 167 w 185"/>
                <a:gd name="T13" fmla="*/ 103 h 281"/>
                <a:gd name="T14" fmla="*/ 149 w 185"/>
                <a:gd name="T15" fmla="*/ 121 h 281"/>
                <a:gd name="T16" fmla="*/ 149 w 185"/>
                <a:gd name="T17" fmla="*/ 112 h 281"/>
                <a:gd name="T18" fmla="*/ 131 w 185"/>
                <a:gd name="T19" fmla="*/ 94 h 281"/>
                <a:gd name="T20" fmla="*/ 114 w 185"/>
                <a:gd name="T21" fmla="*/ 112 h 281"/>
                <a:gd name="T22" fmla="*/ 114 w 185"/>
                <a:gd name="T23" fmla="*/ 103 h 281"/>
                <a:gd name="T24" fmla="*/ 96 w 185"/>
                <a:gd name="T25" fmla="*/ 85 h 281"/>
                <a:gd name="T26" fmla="*/ 78 w 185"/>
                <a:gd name="T27" fmla="*/ 103 h 281"/>
                <a:gd name="T28" fmla="*/ 78 w 185"/>
                <a:gd name="T29" fmla="*/ 17 h 281"/>
                <a:gd name="T30" fmla="*/ 61 w 185"/>
                <a:gd name="T31" fmla="*/ 0 h 281"/>
                <a:gd name="T32" fmla="*/ 43 w 185"/>
                <a:gd name="T33" fmla="*/ 17 h 281"/>
                <a:gd name="T34" fmla="*/ 43 w 185"/>
                <a:gd name="T35" fmla="*/ 121 h 281"/>
                <a:gd name="T36" fmla="*/ 43 w 185"/>
                <a:gd name="T37" fmla="*/ 171 h 281"/>
                <a:gd name="T38" fmla="*/ 35 w 185"/>
                <a:gd name="T39" fmla="*/ 180 h 281"/>
                <a:gd name="T40" fmla="*/ 35 w 185"/>
                <a:gd name="T41" fmla="*/ 137 h 281"/>
                <a:gd name="T42" fmla="*/ 18 w 185"/>
                <a:gd name="T43" fmla="*/ 119 h 281"/>
                <a:gd name="T44" fmla="*/ 0 w 185"/>
                <a:gd name="T45" fmla="*/ 119 h 281"/>
                <a:gd name="T46" fmla="*/ 0 w 185"/>
                <a:gd name="T47" fmla="*/ 137 h 281"/>
                <a:gd name="T48" fmla="*/ 0 w 185"/>
                <a:gd name="T49" fmla="*/ 189 h 281"/>
                <a:gd name="T50" fmla="*/ 0 w 185"/>
                <a:gd name="T51" fmla="*/ 189 h 281"/>
                <a:gd name="T52" fmla="*/ 0 w 185"/>
                <a:gd name="T53" fmla="*/ 189 h 281"/>
                <a:gd name="T54" fmla="*/ 92 w 185"/>
                <a:gd name="T55" fmla="*/ 281 h 281"/>
                <a:gd name="T56" fmla="*/ 184 w 185"/>
                <a:gd name="T57" fmla="*/ 199 h 281"/>
                <a:gd name="T58" fmla="*/ 184 w 185"/>
                <a:gd name="T59" fmla="*/ 199 h 281"/>
                <a:gd name="T60" fmla="*/ 184 w 185"/>
                <a:gd name="T61" fmla="*/ 19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5" h="281">
                  <a:moveTo>
                    <a:pt x="184" y="196"/>
                  </a:moveTo>
                  <a:cubicBezTo>
                    <a:pt x="185" y="194"/>
                    <a:pt x="185" y="191"/>
                    <a:pt x="185" y="189"/>
                  </a:cubicBezTo>
                  <a:cubicBezTo>
                    <a:pt x="184" y="189"/>
                    <a:pt x="184" y="189"/>
                    <a:pt x="184" y="189"/>
                  </a:cubicBezTo>
                  <a:cubicBezTo>
                    <a:pt x="184" y="159"/>
                    <a:pt x="184" y="159"/>
                    <a:pt x="184" y="159"/>
                  </a:cubicBezTo>
                  <a:cubicBezTo>
                    <a:pt x="184" y="121"/>
                    <a:pt x="184" y="121"/>
                    <a:pt x="184" y="121"/>
                  </a:cubicBezTo>
                  <a:cubicBezTo>
                    <a:pt x="184" y="121"/>
                    <a:pt x="184" y="121"/>
                    <a:pt x="184" y="121"/>
                  </a:cubicBezTo>
                  <a:cubicBezTo>
                    <a:pt x="184" y="111"/>
                    <a:pt x="177" y="103"/>
                    <a:pt x="167" y="103"/>
                  </a:cubicBezTo>
                  <a:cubicBezTo>
                    <a:pt x="157" y="103"/>
                    <a:pt x="149" y="111"/>
                    <a:pt x="149" y="121"/>
                  </a:cubicBezTo>
                  <a:cubicBezTo>
                    <a:pt x="149" y="112"/>
                    <a:pt x="149" y="112"/>
                    <a:pt x="149" y="112"/>
                  </a:cubicBezTo>
                  <a:cubicBezTo>
                    <a:pt x="149" y="102"/>
                    <a:pt x="141" y="94"/>
                    <a:pt x="131" y="94"/>
                  </a:cubicBezTo>
                  <a:cubicBezTo>
                    <a:pt x="122" y="94"/>
                    <a:pt x="114" y="102"/>
                    <a:pt x="114" y="112"/>
                  </a:cubicBezTo>
                  <a:cubicBezTo>
                    <a:pt x="114" y="103"/>
                    <a:pt x="114" y="103"/>
                    <a:pt x="114" y="103"/>
                  </a:cubicBezTo>
                  <a:cubicBezTo>
                    <a:pt x="114" y="93"/>
                    <a:pt x="106" y="85"/>
                    <a:pt x="96" y="85"/>
                  </a:cubicBezTo>
                  <a:cubicBezTo>
                    <a:pt x="86" y="85"/>
                    <a:pt x="78" y="93"/>
                    <a:pt x="78" y="103"/>
                  </a:cubicBezTo>
                  <a:cubicBezTo>
                    <a:pt x="78" y="17"/>
                    <a:pt x="78" y="17"/>
                    <a:pt x="78" y="17"/>
                  </a:cubicBezTo>
                  <a:cubicBezTo>
                    <a:pt x="78" y="8"/>
                    <a:pt x="70" y="0"/>
                    <a:pt x="61" y="0"/>
                  </a:cubicBezTo>
                  <a:cubicBezTo>
                    <a:pt x="51" y="0"/>
                    <a:pt x="43" y="8"/>
                    <a:pt x="43" y="17"/>
                  </a:cubicBezTo>
                  <a:cubicBezTo>
                    <a:pt x="43" y="121"/>
                    <a:pt x="43" y="121"/>
                    <a:pt x="43" y="121"/>
                  </a:cubicBezTo>
                  <a:cubicBezTo>
                    <a:pt x="43" y="171"/>
                    <a:pt x="43" y="171"/>
                    <a:pt x="43" y="171"/>
                  </a:cubicBezTo>
                  <a:cubicBezTo>
                    <a:pt x="43" y="175"/>
                    <a:pt x="41" y="180"/>
                    <a:pt x="35" y="180"/>
                  </a:cubicBezTo>
                  <a:cubicBezTo>
                    <a:pt x="35" y="137"/>
                    <a:pt x="35" y="137"/>
                    <a:pt x="35" y="137"/>
                  </a:cubicBezTo>
                  <a:cubicBezTo>
                    <a:pt x="35" y="127"/>
                    <a:pt x="28" y="119"/>
                    <a:pt x="18" y="119"/>
                  </a:cubicBezTo>
                  <a:cubicBezTo>
                    <a:pt x="0" y="119"/>
                    <a:pt x="0" y="119"/>
                    <a:pt x="0" y="119"/>
                  </a:cubicBezTo>
                  <a:cubicBezTo>
                    <a:pt x="0" y="137"/>
                    <a:pt x="0" y="137"/>
                    <a:pt x="0" y="137"/>
                  </a:cubicBezTo>
                  <a:cubicBezTo>
                    <a:pt x="0" y="189"/>
                    <a:pt x="0" y="189"/>
                    <a:pt x="0" y="189"/>
                  </a:cubicBezTo>
                  <a:cubicBezTo>
                    <a:pt x="0" y="189"/>
                    <a:pt x="0" y="189"/>
                    <a:pt x="0" y="189"/>
                  </a:cubicBezTo>
                  <a:cubicBezTo>
                    <a:pt x="0" y="189"/>
                    <a:pt x="0" y="189"/>
                    <a:pt x="0" y="189"/>
                  </a:cubicBezTo>
                  <a:cubicBezTo>
                    <a:pt x="0" y="240"/>
                    <a:pt x="41" y="281"/>
                    <a:pt x="92" y="281"/>
                  </a:cubicBezTo>
                  <a:cubicBezTo>
                    <a:pt x="140" y="281"/>
                    <a:pt x="179" y="245"/>
                    <a:pt x="184" y="199"/>
                  </a:cubicBezTo>
                  <a:cubicBezTo>
                    <a:pt x="184" y="199"/>
                    <a:pt x="184" y="199"/>
                    <a:pt x="184" y="199"/>
                  </a:cubicBezTo>
                  <a:lnTo>
                    <a:pt x="184" y="196"/>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764" name="Group 763"/>
          <p:cNvGrpSpPr/>
          <p:nvPr/>
        </p:nvGrpSpPr>
        <p:grpSpPr>
          <a:xfrm>
            <a:off x="1879658" y="4758053"/>
            <a:ext cx="670309" cy="976319"/>
            <a:chOff x="1752600" y="4260851"/>
            <a:chExt cx="657225" cy="957262"/>
          </a:xfrm>
        </p:grpSpPr>
        <p:sp>
          <p:nvSpPr>
            <p:cNvPr id="723" name="Freeform 178"/>
            <p:cNvSpPr>
              <a:spLocks/>
            </p:cNvSpPr>
            <p:nvPr/>
          </p:nvSpPr>
          <p:spPr bwMode="auto">
            <a:xfrm>
              <a:off x="1752600" y="4479926"/>
              <a:ext cx="112713" cy="130175"/>
            </a:xfrm>
            <a:custGeom>
              <a:avLst/>
              <a:gdLst>
                <a:gd name="T0" fmla="*/ 8 w 40"/>
                <a:gd name="T1" fmla="*/ 46 h 46"/>
                <a:gd name="T2" fmla="*/ 40 w 40"/>
                <a:gd name="T3" fmla="*/ 46 h 46"/>
                <a:gd name="T4" fmla="*/ 40 w 40"/>
                <a:gd name="T5" fmla="*/ 0 h 46"/>
                <a:gd name="T6" fmla="*/ 8 w 40"/>
                <a:gd name="T7" fmla="*/ 0 h 46"/>
                <a:gd name="T8" fmla="*/ 0 w 40"/>
                <a:gd name="T9" fmla="*/ 8 h 46"/>
                <a:gd name="T10" fmla="*/ 0 w 40"/>
                <a:gd name="T11" fmla="*/ 38 h 46"/>
                <a:gd name="T12" fmla="*/ 8 w 40"/>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0" h="46">
                  <a:moveTo>
                    <a:pt x="8" y="46"/>
                  </a:moveTo>
                  <a:cubicBezTo>
                    <a:pt x="40" y="46"/>
                    <a:pt x="40" y="46"/>
                    <a:pt x="40" y="46"/>
                  </a:cubicBezTo>
                  <a:cubicBezTo>
                    <a:pt x="40" y="0"/>
                    <a:pt x="40" y="0"/>
                    <a:pt x="40" y="0"/>
                  </a:cubicBezTo>
                  <a:cubicBezTo>
                    <a:pt x="8" y="0"/>
                    <a:pt x="8" y="0"/>
                    <a:pt x="8" y="0"/>
                  </a:cubicBezTo>
                  <a:cubicBezTo>
                    <a:pt x="4" y="0"/>
                    <a:pt x="0" y="4"/>
                    <a:pt x="0" y="8"/>
                  </a:cubicBezTo>
                  <a:cubicBezTo>
                    <a:pt x="0" y="38"/>
                    <a:pt x="0" y="38"/>
                    <a:pt x="0" y="38"/>
                  </a:cubicBezTo>
                  <a:cubicBezTo>
                    <a:pt x="0" y="42"/>
                    <a:pt x="4" y="46"/>
                    <a:pt x="8"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4" name="Rectangle 179"/>
            <p:cNvSpPr>
              <a:spLocks noChangeArrowheads="1"/>
            </p:cNvSpPr>
            <p:nvPr/>
          </p:nvSpPr>
          <p:spPr bwMode="auto">
            <a:xfrm>
              <a:off x="1792288" y="4610101"/>
              <a:ext cx="44450"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5" name="Rectangle 180"/>
            <p:cNvSpPr>
              <a:spLocks noChangeArrowheads="1"/>
            </p:cNvSpPr>
            <p:nvPr/>
          </p:nvSpPr>
          <p:spPr bwMode="auto">
            <a:xfrm>
              <a:off x="1792288" y="4610101"/>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6" name="Rectangle 181"/>
            <p:cNvSpPr>
              <a:spLocks noChangeArrowheads="1"/>
            </p:cNvSpPr>
            <p:nvPr/>
          </p:nvSpPr>
          <p:spPr bwMode="auto">
            <a:xfrm>
              <a:off x="1792288" y="4821238"/>
              <a:ext cx="44450"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7" name="Rectangle 182"/>
            <p:cNvSpPr>
              <a:spLocks noChangeArrowheads="1"/>
            </p:cNvSpPr>
            <p:nvPr/>
          </p:nvSpPr>
          <p:spPr bwMode="auto">
            <a:xfrm>
              <a:off x="1792288" y="4821238"/>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8" name="Freeform 183"/>
            <p:cNvSpPr>
              <a:spLocks/>
            </p:cNvSpPr>
            <p:nvPr/>
          </p:nvSpPr>
          <p:spPr bwMode="auto">
            <a:xfrm>
              <a:off x="1766888" y="4686301"/>
              <a:ext cx="96838" cy="134938"/>
            </a:xfrm>
            <a:custGeom>
              <a:avLst/>
              <a:gdLst>
                <a:gd name="T0" fmla="*/ 34 w 34"/>
                <a:gd name="T1" fmla="*/ 38 h 48"/>
                <a:gd name="T2" fmla="*/ 24 w 34"/>
                <a:gd name="T3" fmla="*/ 48 h 48"/>
                <a:gd name="T4" fmla="*/ 10 w 34"/>
                <a:gd name="T5" fmla="*/ 48 h 48"/>
                <a:gd name="T6" fmla="*/ 0 w 34"/>
                <a:gd name="T7" fmla="*/ 38 h 48"/>
                <a:gd name="T8" fmla="*/ 0 w 34"/>
                <a:gd name="T9" fmla="*/ 10 h 48"/>
                <a:gd name="T10" fmla="*/ 10 w 34"/>
                <a:gd name="T11" fmla="*/ 0 h 48"/>
                <a:gd name="T12" fmla="*/ 24 w 34"/>
                <a:gd name="T13" fmla="*/ 0 h 48"/>
                <a:gd name="T14" fmla="*/ 34 w 34"/>
                <a:gd name="T15" fmla="*/ 10 h 48"/>
                <a:gd name="T16" fmla="*/ 34 w 34"/>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8">
                  <a:moveTo>
                    <a:pt x="34" y="38"/>
                  </a:moveTo>
                  <a:cubicBezTo>
                    <a:pt x="34" y="43"/>
                    <a:pt x="29" y="48"/>
                    <a:pt x="24" y="48"/>
                  </a:cubicBezTo>
                  <a:cubicBezTo>
                    <a:pt x="10" y="48"/>
                    <a:pt x="10" y="48"/>
                    <a:pt x="10" y="48"/>
                  </a:cubicBezTo>
                  <a:cubicBezTo>
                    <a:pt x="5" y="48"/>
                    <a:pt x="0" y="43"/>
                    <a:pt x="0" y="38"/>
                  </a:cubicBezTo>
                  <a:cubicBezTo>
                    <a:pt x="0" y="10"/>
                    <a:pt x="0" y="10"/>
                    <a:pt x="0" y="10"/>
                  </a:cubicBezTo>
                  <a:cubicBezTo>
                    <a:pt x="0" y="5"/>
                    <a:pt x="5" y="0"/>
                    <a:pt x="10" y="0"/>
                  </a:cubicBezTo>
                  <a:cubicBezTo>
                    <a:pt x="24" y="0"/>
                    <a:pt x="24" y="0"/>
                    <a:pt x="24" y="0"/>
                  </a:cubicBezTo>
                  <a:cubicBezTo>
                    <a:pt x="29" y="0"/>
                    <a:pt x="34" y="5"/>
                    <a:pt x="34" y="10"/>
                  </a:cubicBezTo>
                  <a:lnTo>
                    <a:pt x="34"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29" name="Rectangle 184"/>
            <p:cNvSpPr>
              <a:spLocks noChangeArrowheads="1"/>
            </p:cNvSpPr>
            <p:nvPr/>
          </p:nvSpPr>
          <p:spPr bwMode="auto">
            <a:xfrm>
              <a:off x="1968500" y="4676776"/>
              <a:ext cx="236538"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0" name="Rectangle 185"/>
            <p:cNvSpPr>
              <a:spLocks noChangeArrowheads="1"/>
            </p:cNvSpPr>
            <p:nvPr/>
          </p:nvSpPr>
          <p:spPr bwMode="auto">
            <a:xfrm>
              <a:off x="1968500" y="4651376"/>
              <a:ext cx="236538"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1" name="Rectangle 186"/>
            <p:cNvSpPr>
              <a:spLocks noChangeArrowheads="1"/>
            </p:cNvSpPr>
            <p:nvPr/>
          </p:nvSpPr>
          <p:spPr bwMode="auto">
            <a:xfrm>
              <a:off x="1865313" y="4433888"/>
              <a:ext cx="433388" cy="2206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2" name="Freeform 187"/>
            <p:cNvSpPr>
              <a:spLocks/>
            </p:cNvSpPr>
            <p:nvPr/>
          </p:nvSpPr>
          <p:spPr bwMode="auto">
            <a:xfrm>
              <a:off x="1944688" y="4297363"/>
              <a:ext cx="284163" cy="142875"/>
            </a:xfrm>
            <a:custGeom>
              <a:avLst/>
              <a:gdLst>
                <a:gd name="T0" fmla="*/ 50 w 100"/>
                <a:gd name="T1" fmla="*/ 0 h 50"/>
                <a:gd name="T2" fmla="*/ 0 w 100"/>
                <a:gd name="T3" fmla="*/ 50 h 50"/>
                <a:gd name="T4" fmla="*/ 100 w 100"/>
                <a:gd name="T5" fmla="*/ 50 h 50"/>
                <a:gd name="T6" fmla="*/ 50 w 100"/>
                <a:gd name="T7" fmla="*/ 0 h 50"/>
              </a:gdLst>
              <a:ahLst/>
              <a:cxnLst>
                <a:cxn ang="0">
                  <a:pos x="T0" y="T1"/>
                </a:cxn>
                <a:cxn ang="0">
                  <a:pos x="T2" y="T3"/>
                </a:cxn>
                <a:cxn ang="0">
                  <a:pos x="T4" y="T5"/>
                </a:cxn>
                <a:cxn ang="0">
                  <a:pos x="T6" y="T7"/>
                </a:cxn>
              </a:cxnLst>
              <a:rect l="0" t="0" r="r" b="b"/>
              <a:pathLst>
                <a:path w="100" h="50">
                  <a:moveTo>
                    <a:pt x="50" y="0"/>
                  </a:moveTo>
                  <a:cubicBezTo>
                    <a:pt x="22" y="0"/>
                    <a:pt x="0" y="22"/>
                    <a:pt x="0" y="50"/>
                  </a:cubicBezTo>
                  <a:cubicBezTo>
                    <a:pt x="100" y="50"/>
                    <a:pt x="100" y="50"/>
                    <a:pt x="100" y="50"/>
                  </a:cubicBezTo>
                  <a:cubicBezTo>
                    <a:pt x="100" y="22"/>
                    <a:pt x="77" y="0"/>
                    <a:pt x="5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3" name="Oval 188"/>
            <p:cNvSpPr>
              <a:spLocks noChangeArrowheads="1"/>
            </p:cNvSpPr>
            <p:nvPr/>
          </p:nvSpPr>
          <p:spPr bwMode="auto">
            <a:xfrm>
              <a:off x="19986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4" name="Oval 189"/>
            <p:cNvSpPr>
              <a:spLocks noChangeArrowheads="1"/>
            </p:cNvSpPr>
            <p:nvPr/>
          </p:nvSpPr>
          <p:spPr bwMode="auto">
            <a:xfrm>
              <a:off x="2138363" y="4362451"/>
              <a:ext cx="36513" cy="3810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5" name="Freeform 190"/>
            <p:cNvSpPr>
              <a:spLocks/>
            </p:cNvSpPr>
            <p:nvPr/>
          </p:nvSpPr>
          <p:spPr bwMode="auto">
            <a:xfrm>
              <a:off x="1958975" y="4498976"/>
              <a:ext cx="246063" cy="90488"/>
            </a:xfrm>
            <a:custGeom>
              <a:avLst/>
              <a:gdLst>
                <a:gd name="T0" fmla="*/ 87 w 87"/>
                <a:gd name="T1" fmla="*/ 16 h 32"/>
                <a:gd name="T2" fmla="*/ 71 w 87"/>
                <a:gd name="T3" fmla="*/ 32 h 32"/>
                <a:gd name="T4" fmla="*/ 16 w 87"/>
                <a:gd name="T5" fmla="*/ 32 h 32"/>
                <a:gd name="T6" fmla="*/ 0 w 87"/>
                <a:gd name="T7" fmla="*/ 16 h 32"/>
                <a:gd name="T8" fmla="*/ 0 w 87"/>
                <a:gd name="T9" fmla="*/ 16 h 32"/>
                <a:gd name="T10" fmla="*/ 16 w 87"/>
                <a:gd name="T11" fmla="*/ 0 h 32"/>
                <a:gd name="T12" fmla="*/ 71 w 87"/>
                <a:gd name="T13" fmla="*/ 0 h 32"/>
                <a:gd name="T14" fmla="*/ 87 w 87"/>
                <a:gd name="T15" fmla="*/ 16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2">
                  <a:moveTo>
                    <a:pt x="87" y="16"/>
                  </a:moveTo>
                  <a:cubicBezTo>
                    <a:pt x="87" y="25"/>
                    <a:pt x="79" y="32"/>
                    <a:pt x="71" y="32"/>
                  </a:cubicBezTo>
                  <a:cubicBezTo>
                    <a:pt x="16" y="32"/>
                    <a:pt x="16" y="32"/>
                    <a:pt x="16" y="32"/>
                  </a:cubicBezTo>
                  <a:cubicBezTo>
                    <a:pt x="7" y="32"/>
                    <a:pt x="0" y="25"/>
                    <a:pt x="0" y="16"/>
                  </a:cubicBezTo>
                  <a:cubicBezTo>
                    <a:pt x="0" y="16"/>
                    <a:pt x="0" y="16"/>
                    <a:pt x="0" y="16"/>
                  </a:cubicBezTo>
                  <a:cubicBezTo>
                    <a:pt x="0" y="7"/>
                    <a:pt x="7" y="0"/>
                    <a:pt x="16" y="0"/>
                  </a:cubicBezTo>
                  <a:cubicBezTo>
                    <a:pt x="71" y="0"/>
                    <a:pt x="71" y="0"/>
                    <a:pt x="71" y="0"/>
                  </a:cubicBezTo>
                  <a:cubicBezTo>
                    <a:pt x="79" y="0"/>
                    <a:pt x="87" y="7"/>
                    <a:pt x="87"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6" name="Freeform 191"/>
            <p:cNvSpPr>
              <a:spLocks/>
            </p:cNvSpPr>
            <p:nvPr/>
          </p:nvSpPr>
          <p:spPr bwMode="auto">
            <a:xfrm>
              <a:off x="207486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7" name="Freeform 192"/>
            <p:cNvSpPr>
              <a:spLocks/>
            </p:cNvSpPr>
            <p:nvPr/>
          </p:nvSpPr>
          <p:spPr bwMode="auto">
            <a:xfrm>
              <a:off x="2049463" y="4521201"/>
              <a:ext cx="9525" cy="53975"/>
            </a:xfrm>
            <a:custGeom>
              <a:avLst/>
              <a:gdLst>
                <a:gd name="T0" fmla="*/ 3 w 3"/>
                <a:gd name="T1" fmla="*/ 17 h 19"/>
                <a:gd name="T2" fmla="*/ 2 w 3"/>
                <a:gd name="T3" fmla="*/ 19 h 19"/>
                <a:gd name="T4" fmla="*/ 2 w 3"/>
                <a:gd name="T5" fmla="*/ 19 h 19"/>
                <a:gd name="T6" fmla="*/ 0 w 3"/>
                <a:gd name="T7" fmla="*/ 17 h 19"/>
                <a:gd name="T8" fmla="*/ 0 w 3"/>
                <a:gd name="T9" fmla="*/ 1 h 19"/>
                <a:gd name="T10" fmla="*/ 2 w 3"/>
                <a:gd name="T11" fmla="*/ 0 h 19"/>
                <a:gd name="T12" fmla="*/ 2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8" name="Freeform 193"/>
            <p:cNvSpPr>
              <a:spLocks/>
            </p:cNvSpPr>
            <p:nvPr/>
          </p:nvSpPr>
          <p:spPr bwMode="auto">
            <a:xfrm>
              <a:off x="2020888" y="4521201"/>
              <a:ext cx="12700"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9" name="Freeform 194"/>
            <p:cNvSpPr>
              <a:spLocks/>
            </p:cNvSpPr>
            <p:nvPr/>
          </p:nvSpPr>
          <p:spPr bwMode="auto">
            <a:xfrm>
              <a:off x="1995488" y="4521201"/>
              <a:ext cx="9525" cy="53975"/>
            </a:xfrm>
            <a:custGeom>
              <a:avLst/>
              <a:gdLst>
                <a:gd name="T0" fmla="*/ 3 w 3"/>
                <a:gd name="T1" fmla="*/ 17 h 19"/>
                <a:gd name="T2" fmla="*/ 1 w 3"/>
                <a:gd name="T3" fmla="*/ 19 h 19"/>
                <a:gd name="T4" fmla="*/ 1 w 3"/>
                <a:gd name="T5" fmla="*/ 19 h 19"/>
                <a:gd name="T6" fmla="*/ 0 w 3"/>
                <a:gd name="T7" fmla="*/ 17 h 19"/>
                <a:gd name="T8" fmla="*/ 0 w 3"/>
                <a:gd name="T9" fmla="*/ 1 h 19"/>
                <a:gd name="T10" fmla="*/ 1 w 3"/>
                <a:gd name="T11" fmla="*/ 0 h 19"/>
                <a:gd name="T12" fmla="*/ 1 w 3"/>
                <a:gd name="T13" fmla="*/ 0 h 19"/>
                <a:gd name="T14" fmla="*/ 3 w 3"/>
                <a:gd name="T15" fmla="*/ 1 h 19"/>
                <a:gd name="T16" fmla="*/ 3 w 3"/>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9">
                  <a:moveTo>
                    <a:pt x="3" y="17"/>
                  </a:moveTo>
                  <a:cubicBezTo>
                    <a:pt x="3" y="18"/>
                    <a:pt x="2" y="19"/>
                    <a:pt x="1" y="19"/>
                  </a:cubicBezTo>
                  <a:cubicBezTo>
                    <a:pt x="1" y="19"/>
                    <a:pt x="1" y="19"/>
                    <a:pt x="1" y="19"/>
                  </a:cubicBezTo>
                  <a:cubicBezTo>
                    <a:pt x="0" y="19"/>
                    <a:pt x="0" y="18"/>
                    <a:pt x="0" y="17"/>
                  </a:cubicBezTo>
                  <a:cubicBezTo>
                    <a:pt x="0" y="1"/>
                    <a:pt x="0" y="1"/>
                    <a:pt x="0" y="1"/>
                  </a:cubicBezTo>
                  <a:cubicBezTo>
                    <a:pt x="0" y="0"/>
                    <a:pt x="0" y="0"/>
                    <a:pt x="1" y="0"/>
                  </a:cubicBezTo>
                  <a:cubicBezTo>
                    <a:pt x="1" y="0"/>
                    <a:pt x="1" y="0"/>
                    <a:pt x="1" y="0"/>
                  </a:cubicBezTo>
                  <a:cubicBezTo>
                    <a:pt x="2" y="0"/>
                    <a:pt x="3" y="0"/>
                    <a:pt x="3" y="1"/>
                  </a:cubicBezTo>
                  <a:lnTo>
                    <a:pt x="3"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0" name="Freeform 195"/>
            <p:cNvSpPr>
              <a:spLocks/>
            </p:cNvSpPr>
            <p:nvPr/>
          </p:nvSpPr>
          <p:spPr bwMode="auto">
            <a:xfrm>
              <a:off x="2157413"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1" name="Freeform 196"/>
            <p:cNvSpPr>
              <a:spLocks/>
            </p:cNvSpPr>
            <p:nvPr/>
          </p:nvSpPr>
          <p:spPr bwMode="auto">
            <a:xfrm>
              <a:off x="21288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2" name="Freeform 197"/>
            <p:cNvSpPr>
              <a:spLocks/>
            </p:cNvSpPr>
            <p:nvPr/>
          </p:nvSpPr>
          <p:spPr bwMode="auto">
            <a:xfrm>
              <a:off x="2103438" y="4521201"/>
              <a:ext cx="11113" cy="53975"/>
            </a:xfrm>
            <a:custGeom>
              <a:avLst/>
              <a:gdLst>
                <a:gd name="T0" fmla="*/ 4 w 4"/>
                <a:gd name="T1" fmla="*/ 17 h 19"/>
                <a:gd name="T2" fmla="*/ 2 w 4"/>
                <a:gd name="T3" fmla="*/ 19 h 19"/>
                <a:gd name="T4" fmla="*/ 2 w 4"/>
                <a:gd name="T5" fmla="*/ 19 h 19"/>
                <a:gd name="T6" fmla="*/ 0 w 4"/>
                <a:gd name="T7" fmla="*/ 17 h 19"/>
                <a:gd name="T8" fmla="*/ 0 w 4"/>
                <a:gd name="T9" fmla="*/ 1 h 19"/>
                <a:gd name="T10" fmla="*/ 2 w 4"/>
                <a:gd name="T11" fmla="*/ 0 h 19"/>
                <a:gd name="T12" fmla="*/ 2 w 4"/>
                <a:gd name="T13" fmla="*/ 0 h 19"/>
                <a:gd name="T14" fmla="*/ 4 w 4"/>
                <a:gd name="T15" fmla="*/ 1 h 19"/>
                <a:gd name="T16" fmla="*/ 4 w 4"/>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9">
                  <a:moveTo>
                    <a:pt x="4" y="17"/>
                  </a:moveTo>
                  <a:cubicBezTo>
                    <a:pt x="4" y="18"/>
                    <a:pt x="3" y="19"/>
                    <a:pt x="2" y="19"/>
                  </a:cubicBezTo>
                  <a:cubicBezTo>
                    <a:pt x="2" y="19"/>
                    <a:pt x="2" y="19"/>
                    <a:pt x="2" y="19"/>
                  </a:cubicBezTo>
                  <a:cubicBezTo>
                    <a:pt x="1" y="19"/>
                    <a:pt x="0" y="18"/>
                    <a:pt x="0" y="17"/>
                  </a:cubicBezTo>
                  <a:cubicBezTo>
                    <a:pt x="0" y="1"/>
                    <a:pt x="0" y="1"/>
                    <a:pt x="0" y="1"/>
                  </a:cubicBezTo>
                  <a:cubicBezTo>
                    <a:pt x="0" y="0"/>
                    <a:pt x="1" y="0"/>
                    <a:pt x="2" y="0"/>
                  </a:cubicBezTo>
                  <a:cubicBezTo>
                    <a:pt x="2" y="0"/>
                    <a:pt x="2" y="0"/>
                    <a:pt x="2" y="0"/>
                  </a:cubicBezTo>
                  <a:cubicBezTo>
                    <a:pt x="3" y="0"/>
                    <a:pt x="4" y="0"/>
                    <a:pt x="4" y="1"/>
                  </a:cubicBezTo>
                  <a:lnTo>
                    <a:pt x="4" y="1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3" name="Freeform 198"/>
            <p:cNvSpPr>
              <a:spLocks/>
            </p:cNvSpPr>
            <p:nvPr/>
          </p:nvSpPr>
          <p:spPr bwMode="auto">
            <a:xfrm>
              <a:off x="1914525" y="4794251"/>
              <a:ext cx="333375" cy="92075"/>
            </a:xfrm>
            <a:custGeom>
              <a:avLst/>
              <a:gdLst>
                <a:gd name="T0" fmla="*/ 10 w 118"/>
                <a:gd name="T1" fmla="*/ 33 h 33"/>
                <a:gd name="T2" fmla="*/ 0 w 118"/>
                <a:gd name="T3" fmla="*/ 23 h 33"/>
                <a:gd name="T4" fmla="*/ 0 w 118"/>
                <a:gd name="T5" fmla="*/ 9 h 33"/>
                <a:gd name="T6" fmla="*/ 10 w 118"/>
                <a:gd name="T7" fmla="*/ 0 h 33"/>
                <a:gd name="T8" fmla="*/ 109 w 118"/>
                <a:gd name="T9" fmla="*/ 0 h 33"/>
                <a:gd name="T10" fmla="*/ 118 w 118"/>
                <a:gd name="T11" fmla="*/ 9 h 33"/>
                <a:gd name="T12" fmla="*/ 118 w 118"/>
                <a:gd name="T13" fmla="*/ 23 h 33"/>
                <a:gd name="T14" fmla="*/ 109 w 118"/>
                <a:gd name="T15" fmla="*/ 33 h 33"/>
                <a:gd name="T16" fmla="*/ 10 w 11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
                  <a:moveTo>
                    <a:pt x="10" y="33"/>
                  </a:moveTo>
                  <a:cubicBezTo>
                    <a:pt x="5" y="33"/>
                    <a:pt x="0" y="28"/>
                    <a:pt x="0" y="23"/>
                  </a:cubicBezTo>
                  <a:cubicBezTo>
                    <a:pt x="0" y="9"/>
                    <a:pt x="0" y="9"/>
                    <a:pt x="0" y="9"/>
                  </a:cubicBezTo>
                  <a:cubicBezTo>
                    <a:pt x="0" y="4"/>
                    <a:pt x="5" y="0"/>
                    <a:pt x="10" y="0"/>
                  </a:cubicBezTo>
                  <a:cubicBezTo>
                    <a:pt x="109" y="0"/>
                    <a:pt x="109" y="0"/>
                    <a:pt x="109" y="0"/>
                  </a:cubicBezTo>
                  <a:cubicBezTo>
                    <a:pt x="114" y="0"/>
                    <a:pt x="118" y="4"/>
                    <a:pt x="118" y="9"/>
                  </a:cubicBezTo>
                  <a:cubicBezTo>
                    <a:pt x="118" y="23"/>
                    <a:pt x="118" y="23"/>
                    <a:pt x="118" y="23"/>
                  </a:cubicBezTo>
                  <a:cubicBezTo>
                    <a:pt x="118" y="28"/>
                    <a:pt x="114" y="33"/>
                    <a:pt x="109" y="33"/>
                  </a:cubicBezTo>
                  <a:lnTo>
                    <a:pt x="10" y="3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4" name="Rectangle 199"/>
            <p:cNvSpPr>
              <a:spLocks noChangeArrowheads="1"/>
            </p:cNvSpPr>
            <p:nvPr/>
          </p:nvSpPr>
          <p:spPr bwMode="auto">
            <a:xfrm>
              <a:off x="1973263" y="4886326"/>
              <a:ext cx="42863"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5" name="Rectangle 200"/>
            <p:cNvSpPr>
              <a:spLocks noChangeArrowheads="1"/>
            </p:cNvSpPr>
            <p:nvPr/>
          </p:nvSpPr>
          <p:spPr bwMode="auto">
            <a:xfrm>
              <a:off x="1973263" y="4886326"/>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6" name="Rectangle 201"/>
            <p:cNvSpPr>
              <a:spLocks noChangeArrowheads="1"/>
            </p:cNvSpPr>
            <p:nvPr/>
          </p:nvSpPr>
          <p:spPr bwMode="auto">
            <a:xfrm>
              <a:off x="2163763" y="4886326"/>
              <a:ext cx="41275" cy="266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7" name="Rectangle 202"/>
            <p:cNvSpPr>
              <a:spLocks noChangeArrowheads="1"/>
            </p:cNvSpPr>
            <p:nvPr/>
          </p:nvSpPr>
          <p:spPr bwMode="auto">
            <a:xfrm>
              <a:off x="2163763" y="4886326"/>
              <a:ext cx="412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8" name="Freeform 203"/>
            <p:cNvSpPr>
              <a:spLocks/>
            </p:cNvSpPr>
            <p:nvPr/>
          </p:nvSpPr>
          <p:spPr bwMode="auto">
            <a:xfrm>
              <a:off x="2236788" y="4368801"/>
              <a:ext cx="25400" cy="47625"/>
            </a:xfrm>
            <a:custGeom>
              <a:avLst/>
              <a:gdLst>
                <a:gd name="T0" fmla="*/ 0 w 9"/>
                <a:gd name="T1" fmla="*/ 0 h 17"/>
                <a:gd name="T2" fmla="*/ 0 w 9"/>
                <a:gd name="T3" fmla="*/ 0 h 17"/>
                <a:gd name="T4" fmla="*/ 0 w 9"/>
                <a:gd name="T5" fmla="*/ 17 h 17"/>
                <a:gd name="T6" fmla="*/ 0 w 9"/>
                <a:gd name="T7" fmla="*/ 17 h 17"/>
                <a:gd name="T8" fmla="*/ 9 w 9"/>
                <a:gd name="T9" fmla="*/ 8 h 17"/>
                <a:gd name="T10" fmla="*/ 0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0" y="0"/>
                  </a:moveTo>
                  <a:cubicBezTo>
                    <a:pt x="0" y="0"/>
                    <a:pt x="0" y="0"/>
                    <a:pt x="0" y="0"/>
                  </a:cubicBezTo>
                  <a:cubicBezTo>
                    <a:pt x="0" y="17"/>
                    <a:pt x="0" y="17"/>
                    <a:pt x="0" y="17"/>
                  </a:cubicBezTo>
                  <a:cubicBezTo>
                    <a:pt x="0" y="17"/>
                    <a:pt x="0" y="17"/>
                    <a:pt x="0" y="17"/>
                  </a:cubicBezTo>
                  <a:cubicBezTo>
                    <a:pt x="5" y="17"/>
                    <a:pt x="9" y="13"/>
                    <a:pt x="9" y="8"/>
                  </a:cubicBezTo>
                  <a:cubicBezTo>
                    <a:pt x="9" y="4"/>
                    <a:pt x="5"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9" name="Rectangle 204"/>
            <p:cNvSpPr>
              <a:spLocks noChangeArrowheads="1"/>
            </p:cNvSpPr>
            <p:nvPr/>
          </p:nvSpPr>
          <p:spPr bwMode="auto">
            <a:xfrm>
              <a:off x="2236788"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0" name="Freeform 205"/>
            <p:cNvSpPr>
              <a:spLocks/>
            </p:cNvSpPr>
            <p:nvPr/>
          </p:nvSpPr>
          <p:spPr bwMode="auto">
            <a:xfrm>
              <a:off x="1911350" y="4368801"/>
              <a:ext cx="25400" cy="47625"/>
            </a:xfrm>
            <a:custGeom>
              <a:avLst/>
              <a:gdLst>
                <a:gd name="T0" fmla="*/ 9 w 9"/>
                <a:gd name="T1" fmla="*/ 0 h 17"/>
                <a:gd name="T2" fmla="*/ 9 w 9"/>
                <a:gd name="T3" fmla="*/ 0 h 17"/>
                <a:gd name="T4" fmla="*/ 9 w 9"/>
                <a:gd name="T5" fmla="*/ 17 h 17"/>
                <a:gd name="T6" fmla="*/ 9 w 9"/>
                <a:gd name="T7" fmla="*/ 17 h 17"/>
                <a:gd name="T8" fmla="*/ 0 w 9"/>
                <a:gd name="T9" fmla="*/ 8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9" y="0"/>
                    <a:pt x="9" y="0"/>
                    <a:pt x="9" y="0"/>
                  </a:cubicBezTo>
                  <a:cubicBezTo>
                    <a:pt x="9" y="17"/>
                    <a:pt x="9" y="17"/>
                    <a:pt x="9" y="17"/>
                  </a:cubicBezTo>
                  <a:cubicBezTo>
                    <a:pt x="9" y="17"/>
                    <a:pt x="9" y="17"/>
                    <a:pt x="9" y="17"/>
                  </a:cubicBezTo>
                  <a:cubicBezTo>
                    <a:pt x="4" y="17"/>
                    <a:pt x="0" y="13"/>
                    <a:pt x="0" y="8"/>
                  </a:cubicBezTo>
                  <a:cubicBezTo>
                    <a:pt x="0" y="4"/>
                    <a:pt x="4" y="0"/>
                    <a:pt x="9"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1" name="Rectangle 206"/>
            <p:cNvSpPr>
              <a:spLocks noChangeArrowheads="1"/>
            </p:cNvSpPr>
            <p:nvPr/>
          </p:nvSpPr>
          <p:spPr bwMode="auto">
            <a:xfrm>
              <a:off x="1930400" y="4260851"/>
              <a:ext cx="6350" cy="1301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2" name="Freeform 207"/>
            <p:cNvSpPr>
              <a:spLocks/>
            </p:cNvSpPr>
            <p:nvPr/>
          </p:nvSpPr>
          <p:spPr bwMode="auto">
            <a:xfrm>
              <a:off x="1928813" y="5145088"/>
              <a:ext cx="131763"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3" name="Rectangle 208"/>
            <p:cNvSpPr>
              <a:spLocks noChangeArrowheads="1"/>
            </p:cNvSpPr>
            <p:nvPr/>
          </p:nvSpPr>
          <p:spPr bwMode="auto">
            <a:xfrm>
              <a:off x="1928813" y="5192713"/>
              <a:ext cx="131763"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4" name="Freeform 209"/>
            <p:cNvSpPr>
              <a:spLocks/>
            </p:cNvSpPr>
            <p:nvPr/>
          </p:nvSpPr>
          <p:spPr bwMode="auto">
            <a:xfrm>
              <a:off x="2117725" y="5145088"/>
              <a:ext cx="133350" cy="47625"/>
            </a:xfrm>
            <a:custGeom>
              <a:avLst/>
              <a:gdLst>
                <a:gd name="T0" fmla="*/ 47 w 47"/>
                <a:gd name="T1" fmla="*/ 17 h 17"/>
                <a:gd name="T2" fmla="*/ 30 w 47"/>
                <a:gd name="T3" fmla="*/ 0 h 17"/>
                <a:gd name="T4" fmla="*/ 17 w 47"/>
                <a:gd name="T5" fmla="*/ 0 h 17"/>
                <a:gd name="T6" fmla="*/ 0 w 47"/>
                <a:gd name="T7" fmla="*/ 17 h 17"/>
                <a:gd name="T8" fmla="*/ 47 w 47"/>
                <a:gd name="T9" fmla="*/ 17 h 17"/>
              </a:gdLst>
              <a:ahLst/>
              <a:cxnLst>
                <a:cxn ang="0">
                  <a:pos x="T0" y="T1"/>
                </a:cxn>
                <a:cxn ang="0">
                  <a:pos x="T2" y="T3"/>
                </a:cxn>
                <a:cxn ang="0">
                  <a:pos x="T4" y="T5"/>
                </a:cxn>
                <a:cxn ang="0">
                  <a:pos x="T6" y="T7"/>
                </a:cxn>
                <a:cxn ang="0">
                  <a:pos x="T8" y="T9"/>
                </a:cxn>
              </a:cxnLst>
              <a:rect l="0" t="0" r="r" b="b"/>
              <a:pathLst>
                <a:path w="47" h="17">
                  <a:moveTo>
                    <a:pt x="47" y="17"/>
                  </a:moveTo>
                  <a:cubicBezTo>
                    <a:pt x="46" y="7"/>
                    <a:pt x="39" y="0"/>
                    <a:pt x="30" y="0"/>
                  </a:cubicBezTo>
                  <a:cubicBezTo>
                    <a:pt x="17" y="0"/>
                    <a:pt x="17" y="0"/>
                    <a:pt x="17" y="0"/>
                  </a:cubicBezTo>
                  <a:cubicBezTo>
                    <a:pt x="8" y="0"/>
                    <a:pt x="1" y="7"/>
                    <a:pt x="0" y="17"/>
                  </a:cubicBezTo>
                  <a:lnTo>
                    <a:pt x="47"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5" name="Rectangle 210"/>
            <p:cNvSpPr>
              <a:spLocks noChangeArrowheads="1"/>
            </p:cNvSpPr>
            <p:nvPr/>
          </p:nvSpPr>
          <p:spPr bwMode="auto">
            <a:xfrm>
              <a:off x="2117725" y="5192713"/>
              <a:ext cx="133350" cy="25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6" name="Freeform 211"/>
            <p:cNvSpPr>
              <a:spLocks/>
            </p:cNvSpPr>
            <p:nvPr/>
          </p:nvSpPr>
          <p:spPr bwMode="auto">
            <a:xfrm>
              <a:off x="1752600" y="4899026"/>
              <a:ext cx="127000" cy="106363"/>
            </a:xfrm>
            <a:custGeom>
              <a:avLst/>
              <a:gdLst>
                <a:gd name="T0" fmla="*/ 14 w 45"/>
                <a:gd name="T1" fmla="*/ 30 h 38"/>
                <a:gd name="T2" fmla="*/ 11 w 45"/>
                <a:gd name="T3" fmla="*/ 23 h 38"/>
                <a:gd name="T4" fmla="*/ 22 w 45"/>
                <a:gd name="T5" fmla="*/ 11 h 38"/>
                <a:gd name="T6" fmla="*/ 33 w 45"/>
                <a:gd name="T7" fmla="*/ 23 h 38"/>
                <a:gd name="T8" fmla="*/ 30 w 45"/>
                <a:gd name="T9" fmla="*/ 30 h 38"/>
                <a:gd name="T10" fmla="*/ 38 w 45"/>
                <a:gd name="T11" fmla="*/ 38 h 38"/>
                <a:gd name="T12" fmla="*/ 45 w 45"/>
                <a:gd name="T13" fmla="*/ 23 h 38"/>
                <a:gd name="T14" fmla="*/ 22 w 45"/>
                <a:gd name="T15" fmla="*/ 0 h 38"/>
                <a:gd name="T16" fmla="*/ 0 w 45"/>
                <a:gd name="T17" fmla="*/ 23 h 38"/>
                <a:gd name="T18" fmla="*/ 6 w 45"/>
                <a:gd name="T19" fmla="*/ 38 h 38"/>
                <a:gd name="T20" fmla="*/ 14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14" y="30"/>
                  </a:moveTo>
                  <a:cubicBezTo>
                    <a:pt x="12" y="28"/>
                    <a:pt x="11" y="26"/>
                    <a:pt x="11" y="23"/>
                  </a:cubicBezTo>
                  <a:cubicBezTo>
                    <a:pt x="11" y="16"/>
                    <a:pt x="16" y="11"/>
                    <a:pt x="22" y="11"/>
                  </a:cubicBezTo>
                  <a:cubicBezTo>
                    <a:pt x="28" y="11"/>
                    <a:pt x="33" y="16"/>
                    <a:pt x="33" y="23"/>
                  </a:cubicBezTo>
                  <a:cubicBezTo>
                    <a:pt x="33" y="26"/>
                    <a:pt x="32" y="28"/>
                    <a:pt x="30" y="30"/>
                  </a:cubicBezTo>
                  <a:cubicBezTo>
                    <a:pt x="38" y="38"/>
                    <a:pt x="38" y="38"/>
                    <a:pt x="38" y="38"/>
                  </a:cubicBezTo>
                  <a:cubicBezTo>
                    <a:pt x="42" y="34"/>
                    <a:pt x="45" y="29"/>
                    <a:pt x="45" y="23"/>
                  </a:cubicBezTo>
                  <a:cubicBezTo>
                    <a:pt x="45" y="10"/>
                    <a:pt x="34" y="0"/>
                    <a:pt x="22" y="0"/>
                  </a:cubicBezTo>
                  <a:cubicBezTo>
                    <a:pt x="10" y="0"/>
                    <a:pt x="0" y="10"/>
                    <a:pt x="0" y="23"/>
                  </a:cubicBezTo>
                  <a:cubicBezTo>
                    <a:pt x="0" y="29"/>
                    <a:pt x="2" y="34"/>
                    <a:pt x="6" y="38"/>
                  </a:cubicBezTo>
                  <a:lnTo>
                    <a:pt x="14"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7" name="Freeform 212"/>
            <p:cNvSpPr>
              <a:spLocks/>
            </p:cNvSpPr>
            <p:nvPr/>
          </p:nvSpPr>
          <p:spPr bwMode="auto">
            <a:xfrm>
              <a:off x="2295525" y="4479926"/>
              <a:ext cx="111125" cy="130175"/>
            </a:xfrm>
            <a:custGeom>
              <a:avLst/>
              <a:gdLst>
                <a:gd name="T0" fmla="*/ 31 w 39"/>
                <a:gd name="T1" fmla="*/ 46 h 46"/>
                <a:gd name="T2" fmla="*/ 0 w 39"/>
                <a:gd name="T3" fmla="*/ 46 h 46"/>
                <a:gd name="T4" fmla="*/ 0 w 39"/>
                <a:gd name="T5" fmla="*/ 0 h 46"/>
                <a:gd name="T6" fmla="*/ 31 w 39"/>
                <a:gd name="T7" fmla="*/ 0 h 46"/>
                <a:gd name="T8" fmla="*/ 39 w 39"/>
                <a:gd name="T9" fmla="*/ 8 h 46"/>
                <a:gd name="T10" fmla="*/ 39 w 39"/>
                <a:gd name="T11" fmla="*/ 38 h 46"/>
                <a:gd name="T12" fmla="*/ 31 w 3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9" h="46">
                  <a:moveTo>
                    <a:pt x="31" y="46"/>
                  </a:moveTo>
                  <a:cubicBezTo>
                    <a:pt x="0" y="46"/>
                    <a:pt x="0" y="46"/>
                    <a:pt x="0" y="46"/>
                  </a:cubicBezTo>
                  <a:cubicBezTo>
                    <a:pt x="0" y="0"/>
                    <a:pt x="0" y="0"/>
                    <a:pt x="0" y="0"/>
                  </a:cubicBezTo>
                  <a:cubicBezTo>
                    <a:pt x="31" y="0"/>
                    <a:pt x="31" y="0"/>
                    <a:pt x="31" y="0"/>
                  </a:cubicBezTo>
                  <a:cubicBezTo>
                    <a:pt x="36" y="0"/>
                    <a:pt x="39" y="4"/>
                    <a:pt x="39" y="8"/>
                  </a:cubicBezTo>
                  <a:cubicBezTo>
                    <a:pt x="39" y="38"/>
                    <a:pt x="39" y="38"/>
                    <a:pt x="39" y="38"/>
                  </a:cubicBezTo>
                  <a:cubicBezTo>
                    <a:pt x="39" y="42"/>
                    <a:pt x="36" y="46"/>
                    <a:pt x="31" y="4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8" name="Rectangle 213"/>
            <p:cNvSpPr>
              <a:spLocks noChangeArrowheads="1"/>
            </p:cNvSpPr>
            <p:nvPr/>
          </p:nvSpPr>
          <p:spPr bwMode="auto">
            <a:xfrm>
              <a:off x="2324100" y="4610101"/>
              <a:ext cx="42863" cy="134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9" name="Rectangle 214"/>
            <p:cNvSpPr>
              <a:spLocks noChangeArrowheads="1"/>
            </p:cNvSpPr>
            <p:nvPr/>
          </p:nvSpPr>
          <p:spPr bwMode="auto">
            <a:xfrm>
              <a:off x="2324100" y="4610101"/>
              <a:ext cx="42863"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0" name="Rectangle 215"/>
            <p:cNvSpPr>
              <a:spLocks noChangeArrowheads="1"/>
            </p:cNvSpPr>
            <p:nvPr/>
          </p:nvSpPr>
          <p:spPr bwMode="auto">
            <a:xfrm>
              <a:off x="2324100" y="4821238"/>
              <a:ext cx="42863" cy="1000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1" name="Rectangle 216"/>
            <p:cNvSpPr>
              <a:spLocks noChangeArrowheads="1"/>
            </p:cNvSpPr>
            <p:nvPr/>
          </p:nvSpPr>
          <p:spPr bwMode="auto">
            <a:xfrm>
              <a:off x="2324100" y="4821238"/>
              <a:ext cx="4286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2" name="Freeform 217"/>
            <p:cNvSpPr>
              <a:spLocks/>
            </p:cNvSpPr>
            <p:nvPr/>
          </p:nvSpPr>
          <p:spPr bwMode="auto">
            <a:xfrm>
              <a:off x="2298700" y="4686301"/>
              <a:ext cx="93663" cy="134938"/>
            </a:xfrm>
            <a:custGeom>
              <a:avLst/>
              <a:gdLst>
                <a:gd name="T0" fmla="*/ 0 w 33"/>
                <a:gd name="T1" fmla="*/ 38 h 48"/>
                <a:gd name="T2" fmla="*/ 9 w 33"/>
                <a:gd name="T3" fmla="*/ 48 h 48"/>
                <a:gd name="T4" fmla="*/ 24 w 33"/>
                <a:gd name="T5" fmla="*/ 48 h 48"/>
                <a:gd name="T6" fmla="*/ 33 w 33"/>
                <a:gd name="T7" fmla="*/ 38 h 48"/>
                <a:gd name="T8" fmla="*/ 33 w 33"/>
                <a:gd name="T9" fmla="*/ 10 h 48"/>
                <a:gd name="T10" fmla="*/ 24 w 33"/>
                <a:gd name="T11" fmla="*/ 0 h 48"/>
                <a:gd name="T12" fmla="*/ 9 w 33"/>
                <a:gd name="T13" fmla="*/ 0 h 48"/>
                <a:gd name="T14" fmla="*/ 0 w 33"/>
                <a:gd name="T15" fmla="*/ 10 h 48"/>
                <a:gd name="T16" fmla="*/ 0 w 33"/>
                <a:gd name="T1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8">
                  <a:moveTo>
                    <a:pt x="0" y="38"/>
                  </a:moveTo>
                  <a:cubicBezTo>
                    <a:pt x="0" y="43"/>
                    <a:pt x="4" y="48"/>
                    <a:pt x="9" y="48"/>
                  </a:cubicBezTo>
                  <a:cubicBezTo>
                    <a:pt x="24" y="48"/>
                    <a:pt x="24" y="48"/>
                    <a:pt x="24" y="48"/>
                  </a:cubicBezTo>
                  <a:cubicBezTo>
                    <a:pt x="29" y="48"/>
                    <a:pt x="33" y="43"/>
                    <a:pt x="33" y="38"/>
                  </a:cubicBezTo>
                  <a:cubicBezTo>
                    <a:pt x="33" y="10"/>
                    <a:pt x="33" y="10"/>
                    <a:pt x="33" y="10"/>
                  </a:cubicBezTo>
                  <a:cubicBezTo>
                    <a:pt x="33" y="5"/>
                    <a:pt x="29" y="0"/>
                    <a:pt x="24" y="0"/>
                  </a:cubicBezTo>
                  <a:cubicBezTo>
                    <a:pt x="9" y="0"/>
                    <a:pt x="9" y="0"/>
                    <a:pt x="9" y="0"/>
                  </a:cubicBezTo>
                  <a:cubicBezTo>
                    <a:pt x="4" y="0"/>
                    <a:pt x="0" y="5"/>
                    <a:pt x="0" y="10"/>
                  </a:cubicBezTo>
                  <a:lnTo>
                    <a:pt x="0" y="3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63" name="Freeform 218"/>
            <p:cNvSpPr>
              <a:spLocks/>
            </p:cNvSpPr>
            <p:nvPr/>
          </p:nvSpPr>
          <p:spPr bwMode="auto">
            <a:xfrm>
              <a:off x="2282825" y="4899026"/>
              <a:ext cx="127000" cy="106363"/>
            </a:xfrm>
            <a:custGeom>
              <a:avLst/>
              <a:gdLst>
                <a:gd name="T0" fmla="*/ 30 w 45"/>
                <a:gd name="T1" fmla="*/ 30 h 38"/>
                <a:gd name="T2" fmla="*/ 34 w 45"/>
                <a:gd name="T3" fmla="*/ 23 h 38"/>
                <a:gd name="T4" fmla="*/ 22 w 45"/>
                <a:gd name="T5" fmla="*/ 11 h 38"/>
                <a:gd name="T6" fmla="*/ 11 w 45"/>
                <a:gd name="T7" fmla="*/ 23 h 38"/>
                <a:gd name="T8" fmla="*/ 14 w 45"/>
                <a:gd name="T9" fmla="*/ 30 h 38"/>
                <a:gd name="T10" fmla="*/ 6 w 45"/>
                <a:gd name="T11" fmla="*/ 38 h 38"/>
                <a:gd name="T12" fmla="*/ 0 w 45"/>
                <a:gd name="T13" fmla="*/ 23 h 38"/>
                <a:gd name="T14" fmla="*/ 22 w 45"/>
                <a:gd name="T15" fmla="*/ 0 h 38"/>
                <a:gd name="T16" fmla="*/ 45 w 45"/>
                <a:gd name="T17" fmla="*/ 23 h 38"/>
                <a:gd name="T18" fmla="*/ 38 w 45"/>
                <a:gd name="T19" fmla="*/ 38 h 38"/>
                <a:gd name="T20" fmla="*/ 30 w 45"/>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8">
                  <a:moveTo>
                    <a:pt x="30" y="30"/>
                  </a:moveTo>
                  <a:cubicBezTo>
                    <a:pt x="32" y="28"/>
                    <a:pt x="34" y="26"/>
                    <a:pt x="34" y="23"/>
                  </a:cubicBezTo>
                  <a:cubicBezTo>
                    <a:pt x="34" y="16"/>
                    <a:pt x="29" y="11"/>
                    <a:pt x="22" y="11"/>
                  </a:cubicBezTo>
                  <a:cubicBezTo>
                    <a:pt x="16" y="11"/>
                    <a:pt x="11" y="16"/>
                    <a:pt x="11" y="23"/>
                  </a:cubicBezTo>
                  <a:cubicBezTo>
                    <a:pt x="11" y="26"/>
                    <a:pt x="12" y="28"/>
                    <a:pt x="14" y="30"/>
                  </a:cubicBezTo>
                  <a:cubicBezTo>
                    <a:pt x="6" y="38"/>
                    <a:pt x="6" y="38"/>
                    <a:pt x="6" y="38"/>
                  </a:cubicBezTo>
                  <a:cubicBezTo>
                    <a:pt x="2" y="34"/>
                    <a:pt x="0" y="29"/>
                    <a:pt x="0" y="23"/>
                  </a:cubicBezTo>
                  <a:cubicBezTo>
                    <a:pt x="0" y="10"/>
                    <a:pt x="10" y="0"/>
                    <a:pt x="22" y="0"/>
                  </a:cubicBezTo>
                  <a:cubicBezTo>
                    <a:pt x="35" y="0"/>
                    <a:pt x="45" y="10"/>
                    <a:pt x="45" y="23"/>
                  </a:cubicBezTo>
                  <a:cubicBezTo>
                    <a:pt x="45" y="29"/>
                    <a:pt x="42" y="34"/>
                    <a:pt x="38" y="38"/>
                  </a:cubicBezTo>
                  <a:lnTo>
                    <a:pt x="30"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820" name="Picture 2" descr="https://issues.jboss.org/secure/attachment/12358227/modeshape-scale-out.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523379" y="4436254"/>
            <a:ext cx="2052239" cy="11982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1" name="Title 1"/>
          <p:cNvSpPr>
            <a:spLocks noGrp="1"/>
          </p:cNvSpPr>
          <p:nvPr>
            <p:ph type="title"/>
          </p:nvPr>
        </p:nvSpPr>
        <p:spPr>
          <a:xfrm>
            <a:off x="275163" y="292082"/>
            <a:ext cx="11885514" cy="946413"/>
          </a:xfrm>
        </p:spPr>
        <p:txBody>
          <a:bodyPr/>
          <a:lstStyle/>
          <a:p>
            <a:r>
              <a:rPr lang="en-US" dirty="0"/>
              <a:t>Azure Data Lake Analytics</a:t>
            </a:r>
            <a:endParaRPr lang="en-US" sz="3672" dirty="0">
              <a:solidFill>
                <a:schemeClr val="accent2"/>
              </a:solidFill>
            </a:endParaRPr>
          </a:p>
        </p:txBody>
      </p:sp>
    </p:spTree>
    <p:extLst>
      <p:ext uri="{BB962C8B-B14F-4D97-AF65-F5344CB8AC3E}">
        <p14:creationId xmlns:p14="http://schemas.microsoft.com/office/powerpoint/2010/main" val="1330436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558"/>
                                        </p:tgtEl>
                                        <p:attrNameLst>
                                          <p:attrName>style.visibility</p:attrName>
                                        </p:attrNameLst>
                                      </p:cBhvr>
                                      <p:to>
                                        <p:strVal val="visible"/>
                                      </p:to>
                                    </p:set>
                                    <p:animEffect transition="in" filter="fade">
                                      <p:cBhvr>
                                        <p:cTn id="7" dur="500"/>
                                        <p:tgtEl>
                                          <p:spTgt spid="5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Rectangle 2"/>
          <p:cNvSpPr/>
          <p:nvPr/>
        </p:nvSpPr>
        <p:spPr bwMode="auto">
          <a:xfrm>
            <a:off x="882" y="1442282"/>
            <a:ext cx="12434711" cy="485821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normAutofit/>
          </a:bodyPr>
          <a:lstStyle/>
          <a:p>
            <a:r>
              <a:rPr lang="en-US" dirty="0">
                <a:ea typeface="ＭＳ Ｐゴシック" charset="0"/>
              </a:rPr>
              <a:t>Work across all cloud data</a:t>
            </a:r>
          </a:p>
        </p:txBody>
      </p:sp>
      <p:grpSp>
        <p:nvGrpSpPr>
          <p:cNvPr id="14" name="Group 13"/>
          <p:cNvGrpSpPr/>
          <p:nvPr/>
        </p:nvGrpSpPr>
        <p:grpSpPr>
          <a:xfrm>
            <a:off x="738288" y="1785681"/>
            <a:ext cx="10876761" cy="2308983"/>
            <a:chOff x="376569" y="1750827"/>
            <a:chExt cx="10664459" cy="2263914"/>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475" y="1750827"/>
              <a:ext cx="1196162" cy="1196162"/>
            </a:xfrm>
            <a:prstGeom prst="rect">
              <a:avLst/>
            </a:prstGeom>
          </p:spPr>
        </p:pic>
        <p:sp>
          <p:nvSpPr>
            <p:cNvPr id="7" name="TextBox 6"/>
            <p:cNvSpPr txBox="1"/>
            <p:nvPr/>
          </p:nvSpPr>
          <p:spPr>
            <a:xfrm>
              <a:off x="4532128" y="2850555"/>
              <a:ext cx="2434856" cy="747512"/>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Data Lake Analytics</a:t>
              </a:r>
            </a:p>
          </p:txBody>
        </p:sp>
        <p:sp>
          <p:nvSpPr>
            <p:cNvPr id="8" name="Right Brace 7"/>
            <p:cNvSpPr/>
            <p:nvPr/>
          </p:nvSpPr>
          <p:spPr>
            <a:xfrm rot="16200000">
              <a:off x="5482403" y="-1543884"/>
              <a:ext cx="452791" cy="10664459"/>
            </a:xfrm>
            <a:prstGeom prst="rightBrace">
              <a:avLst>
                <a:gd name="adj1" fmla="val 285424"/>
                <a:gd name="adj2" fmla="val 50000"/>
              </a:avLst>
            </a:prstGeom>
            <a:ln w="4445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grpSp>
      <p:sp>
        <p:nvSpPr>
          <p:cNvPr id="9" name="TextBox 8"/>
          <p:cNvSpPr txBox="1"/>
          <p:nvPr/>
        </p:nvSpPr>
        <p:spPr>
          <a:xfrm>
            <a:off x="275162" y="5323888"/>
            <a:ext cx="2483328" cy="527358"/>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a:t>
            </a:r>
            <a:r>
              <a:rPr lang="en-US" sz="1632" dirty="0">
                <a:solidFill>
                  <a:schemeClr val="accent6"/>
                </a:solidFill>
                <a:latin typeface="Segoe UI Black" panose="020B0A02040204020203" pitchFamily="34" charset="0"/>
                <a:ea typeface="Segoe UI Black" panose="020B0A02040204020203" pitchFamily="34" charset="0"/>
                <a:cs typeface="Segoe UI Black" panose="020B0A02040204020203" pitchFamily="34" charset="0"/>
              </a:rPr>
              <a:t> </a:t>
            </a:r>
            <a:r>
              <a:rPr lang="en-US" sz="1632" dirty="0">
                <a:latin typeface="Segoe UI Black" panose="020B0A02040204020203" pitchFamily="34" charset="0"/>
                <a:ea typeface="Segoe UI Black" panose="020B0A02040204020203" pitchFamily="34" charset="0"/>
                <a:cs typeface="Segoe UI Black" panose="020B0A02040204020203" pitchFamily="34" charset="0"/>
              </a:rPr>
              <a:t>SQL</a:t>
            </a:r>
            <a:r>
              <a:rPr lang="en-US" sz="1632" dirty="0">
                <a:solidFill>
                  <a:schemeClr val="accent6"/>
                </a:solidFill>
                <a:latin typeface="Segoe UI Black" panose="020B0A02040204020203" pitchFamily="34" charset="0"/>
                <a:ea typeface="Segoe UI Black" panose="020B0A02040204020203" pitchFamily="34" charset="0"/>
                <a:cs typeface="Segoe UI Black" panose="020B0A02040204020203" pitchFamily="34" charset="0"/>
              </a:rPr>
              <a:t> </a:t>
            </a:r>
            <a:r>
              <a:rPr lang="en-US" sz="1632" dirty="0">
                <a:latin typeface="Segoe UI Black" panose="020B0A02040204020203" pitchFamily="34" charset="0"/>
                <a:ea typeface="Segoe UI Black" panose="020B0A02040204020203" pitchFamily="34" charset="0"/>
                <a:cs typeface="Segoe UI Black" panose="020B0A02040204020203" pitchFamily="34" charset="0"/>
              </a:rPr>
              <a:t>DW</a:t>
            </a:r>
          </a:p>
        </p:txBody>
      </p:sp>
      <p:sp>
        <p:nvSpPr>
          <p:cNvPr id="10" name="TextBox 9"/>
          <p:cNvSpPr txBox="1"/>
          <p:nvPr/>
        </p:nvSpPr>
        <p:spPr>
          <a:xfrm>
            <a:off x="2555951" y="5323888"/>
            <a:ext cx="2483328" cy="527358"/>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SQL DB</a:t>
            </a:r>
          </a:p>
        </p:txBody>
      </p:sp>
      <p:sp>
        <p:nvSpPr>
          <p:cNvPr id="11" name="TextBox 10"/>
          <p:cNvSpPr txBox="1"/>
          <p:nvPr/>
        </p:nvSpPr>
        <p:spPr>
          <a:xfrm>
            <a:off x="7309572" y="5123618"/>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Storage Blobs</a:t>
            </a:r>
          </a:p>
        </p:txBody>
      </p:sp>
      <p:sp>
        <p:nvSpPr>
          <p:cNvPr id="12" name="TextBox 11"/>
          <p:cNvSpPr txBox="1"/>
          <p:nvPr/>
        </p:nvSpPr>
        <p:spPr>
          <a:xfrm>
            <a:off x="4989019" y="5125690"/>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Data Lake Store</a:t>
            </a:r>
          </a:p>
        </p:txBody>
      </p:sp>
      <p:sp>
        <p:nvSpPr>
          <p:cNvPr id="13" name="TextBox 12"/>
          <p:cNvSpPr txBox="1"/>
          <p:nvPr/>
        </p:nvSpPr>
        <p:spPr>
          <a:xfrm>
            <a:off x="9398319" y="5097877"/>
            <a:ext cx="2483328" cy="762393"/>
          </a:xfrm>
          <a:prstGeom prst="rect">
            <a:avLst/>
          </a:prstGeom>
          <a:noFill/>
        </p:spPr>
        <p:txBody>
          <a:bodyPr wrap="square" lIns="186521" tIns="149217" rIns="186521" bIns="149217" rtlCol="0">
            <a:spAutoFit/>
          </a:bodyPr>
          <a:lstStyle/>
          <a:p>
            <a:pPr algn="ctr">
              <a:lnSpc>
                <a:spcPct val="90000"/>
              </a:lnSpc>
              <a:spcAft>
                <a:spcPts val="612"/>
              </a:spcAft>
            </a:pPr>
            <a:r>
              <a:rPr lang="en-US" sz="1632" dirty="0">
                <a:latin typeface="Segoe UI Black" panose="020B0A02040204020203" pitchFamily="34" charset="0"/>
                <a:ea typeface="Segoe UI Black" panose="020B0A02040204020203" pitchFamily="34" charset="0"/>
                <a:cs typeface="Segoe UI Black" panose="020B0A02040204020203" pitchFamily="34" charset="0"/>
              </a:rPr>
              <a:t>SQL DB in an </a:t>
            </a:r>
            <a:br>
              <a:rPr lang="en-US" sz="1632" dirty="0">
                <a:latin typeface="Segoe UI Black" panose="020B0A02040204020203" pitchFamily="34" charset="0"/>
                <a:ea typeface="Segoe UI Black" panose="020B0A02040204020203" pitchFamily="34" charset="0"/>
                <a:cs typeface="Segoe UI Black" panose="020B0A02040204020203" pitchFamily="34" charset="0"/>
              </a:rPr>
            </a:br>
            <a:r>
              <a:rPr lang="en-US" sz="1632" dirty="0">
                <a:latin typeface="Segoe UI Black" panose="020B0A02040204020203" pitchFamily="34" charset="0"/>
                <a:ea typeface="Segoe UI Black" panose="020B0A02040204020203" pitchFamily="34" charset="0"/>
                <a:cs typeface="Segoe UI Black" panose="020B0A02040204020203" pitchFamily="34" charset="0"/>
              </a:rPr>
              <a:t>Azure VM</a:t>
            </a: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94324" y="4120404"/>
            <a:ext cx="1142586" cy="1142586"/>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07276" y="4222980"/>
            <a:ext cx="997771" cy="997771"/>
          </a:xfrm>
          <a:prstGeom prst="rect">
            <a:avLst/>
          </a:prstGeom>
          <a:solidFill>
            <a:srgbClr val="002050"/>
          </a:solidFill>
        </p:spPr>
      </p:pic>
      <p:grpSp>
        <p:nvGrpSpPr>
          <p:cNvPr id="17" name="Group 16"/>
          <p:cNvGrpSpPr/>
          <p:nvPr/>
        </p:nvGrpSpPr>
        <p:grpSpPr>
          <a:xfrm>
            <a:off x="917770" y="4251159"/>
            <a:ext cx="1262801" cy="846719"/>
            <a:chOff x="8320734" y="-1542000"/>
            <a:chExt cx="1770954" cy="1187440"/>
          </a:xfrm>
        </p:grpSpPr>
        <p:sp>
          <p:nvSpPr>
            <p:cNvPr id="18" name="Freeform 87"/>
            <p:cNvSpPr>
              <a:spLocks/>
            </p:cNvSpPr>
            <p:nvPr/>
          </p:nvSpPr>
          <p:spPr bwMode="auto">
            <a:xfrm>
              <a:off x="8392171" y="-1163755"/>
              <a:ext cx="617537" cy="682625"/>
            </a:xfrm>
            <a:custGeom>
              <a:avLst/>
              <a:gdLst>
                <a:gd name="T0" fmla="*/ 389 w 389"/>
                <a:gd name="T1" fmla="*/ 164 h 430"/>
                <a:gd name="T2" fmla="*/ 195 w 389"/>
                <a:gd name="T3" fmla="*/ 0 h 430"/>
                <a:gd name="T4" fmla="*/ 0 w 389"/>
                <a:gd name="T5" fmla="*/ 164 h 430"/>
                <a:gd name="T6" fmla="*/ 0 w 389"/>
                <a:gd name="T7" fmla="*/ 430 h 430"/>
                <a:gd name="T8" fmla="*/ 389 w 389"/>
                <a:gd name="T9" fmla="*/ 430 h 430"/>
                <a:gd name="T10" fmla="*/ 389 w 389"/>
                <a:gd name="T11" fmla="*/ 164 h 430"/>
              </a:gdLst>
              <a:ahLst/>
              <a:cxnLst>
                <a:cxn ang="0">
                  <a:pos x="T0" y="T1"/>
                </a:cxn>
                <a:cxn ang="0">
                  <a:pos x="T2" y="T3"/>
                </a:cxn>
                <a:cxn ang="0">
                  <a:pos x="T4" y="T5"/>
                </a:cxn>
                <a:cxn ang="0">
                  <a:pos x="T6" y="T7"/>
                </a:cxn>
                <a:cxn ang="0">
                  <a:pos x="T8" y="T9"/>
                </a:cxn>
                <a:cxn ang="0">
                  <a:pos x="T10" y="T11"/>
                </a:cxn>
              </a:cxnLst>
              <a:rect l="0" t="0" r="r" b="b"/>
              <a:pathLst>
                <a:path w="389" h="430">
                  <a:moveTo>
                    <a:pt x="389" y="164"/>
                  </a:moveTo>
                  <a:lnTo>
                    <a:pt x="195" y="0"/>
                  </a:lnTo>
                  <a:lnTo>
                    <a:pt x="0" y="164"/>
                  </a:lnTo>
                  <a:lnTo>
                    <a:pt x="0" y="430"/>
                  </a:lnTo>
                  <a:lnTo>
                    <a:pt x="389" y="430"/>
                  </a:lnTo>
                  <a:lnTo>
                    <a:pt x="389" y="16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19" name="Freeform 89"/>
            <p:cNvSpPr>
              <a:spLocks/>
            </p:cNvSpPr>
            <p:nvPr/>
          </p:nvSpPr>
          <p:spPr bwMode="auto">
            <a:xfrm>
              <a:off x="8320734" y="-1163755"/>
              <a:ext cx="381000" cy="260350"/>
            </a:xfrm>
            <a:custGeom>
              <a:avLst/>
              <a:gdLst>
                <a:gd name="T0" fmla="*/ 163 w 240"/>
                <a:gd name="T1" fmla="*/ 0 h 164"/>
                <a:gd name="T2" fmla="*/ 240 w 240"/>
                <a:gd name="T3" fmla="*/ 0 h 164"/>
                <a:gd name="T4" fmla="*/ 45 w 240"/>
                <a:gd name="T5" fmla="*/ 164 h 164"/>
                <a:gd name="T6" fmla="*/ 0 w 240"/>
                <a:gd name="T7" fmla="*/ 164 h 164"/>
                <a:gd name="T8" fmla="*/ 145 w 240"/>
                <a:gd name="T9" fmla="*/ 41 h 164"/>
                <a:gd name="T10" fmla="*/ 163 w 240"/>
                <a:gd name="T11" fmla="*/ 0 h 164"/>
              </a:gdLst>
              <a:ahLst/>
              <a:cxnLst>
                <a:cxn ang="0">
                  <a:pos x="T0" y="T1"/>
                </a:cxn>
                <a:cxn ang="0">
                  <a:pos x="T2" y="T3"/>
                </a:cxn>
                <a:cxn ang="0">
                  <a:pos x="T4" y="T5"/>
                </a:cxn>
                <a:cxn ang="0">
                  <a:pos x="T6" y="T7"/>
                </a:cxn>
                <a:cxn ang="0">
                  <a:pos x="T8" y="T9"/>
                </a:cxn>
                <a:cxn ang="0">
                  <a:pos x="T10" y="T11"/>
                </a:cxn>
              </a:cxnLst>
              <a:rect l="0" t="0" r="r" b="b"/>
              <a:pathLst>
                <a:path w="240" h="164">
                  <a:moveTo>
                    <a:pt x="163" y="0"/>
                  </a:moveTo>
                  <a:lnTo>
                    <a:pt x="240" y="0"/>
                  </a:lnTo>
                  <a:lnTo>
                    <a:pt x="45" y="164"/>
                  </a:lnTo>
                  <a:lnTo>
                    <a:pt x="0" y="164"/>
                  </a:lnTo>
                  <a:lnTo>
                    <a:pt x="145" y="41"/>
                  </a:lnTo>
                  <a:lnTo>
                    <a:pt x="16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0" name="Freeform 90"/>
            <p:cNvSpPr>
              <a:spLocks/>
            </p:cNvSpPr>
            <p:nvPr/>
          </p:nvSpPr>
          <p:spPr bwMode="auto">
            <a:xfrm>
              <a:off x="8579496" y="-1163755"/>
              <a:ext cx="1049337" cy="306388"/>
            </a:xfrm>
            <a:custGeom>
              <a:avLst/>
              <a:gdLst>
                <a:gd name="T0" fmla="*/ 476 w 661"/>
                <a:gd name="T1" fmla="*/ 0 h 193"/>
                <a:gd name="T2" fmla="*/ 0 w 661"/>
                <a:gd name="T3" fmla="*/ 0 h 193"/>
                <a:gd name="T4" fmla="*/ 88 w 661"/>
                <a:gd name="T5" fmla="*/ 47 h 193"/>
                <a:gd name="T6" fmla="*/ 262 w 661"/>
                <a:gd name="T7" fmla="*/ 193 h 193"/>
                <a:gd name="T8" fmla="*/ 661 w 661"/>
                <a:gd name="T9" fmla="*/ 193 h 193"/>
                <a:gd name="T10" fmla="*/ 485 w 661"/>
                <a:gd name="T11" fmla="*/ 45 h 193"/>
                <a:gd name="T12" fmla="*/ 476 w 661"/>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661" h="193">
                  <a:moveTo>
                    <a:pt x="476" y="0"/>
                  </a:moveTo>
                  <a:lnTo>
                    <a:pt x="0" y="0"/>
                  </a:lnTo>
                  <a:lnTo>
                    <a:pt x="88" y="47"/>
                  </a:lnTo>
                  <a:lnTo>
                    <a:pt x="262" y="193"/>
                  </a:lnTo>
                  <a:lnTo>
                    <a:pt x="661" y="193"/>
                  </a:lnTo>
                  <a:lnTo>
                    <a:pt x="485" y="45"/>
                  </a:lnTo>
                  <a:lnTo>
                    <a:pt x="476"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1" name="Rectangle 95"/>
            <p:cNvSpPr>
              <a:spLocks noChangeArrowheads="1"/>
            </p:cNvSpPr>
            <p:nvPr/>
          </p:nvSpPr>
          <p:spPr bwMode="auto">
            <a:xfrm>
              <a:off x="8463609" y="-857367"/>
              <a:ext cx="466725" cy="376238"/>
            </a:xfrm>
            <a:prstGeom prst="rect">
              <a:avLst/>
            </a:prstGeom>
            <a:solidFill>
              <a:srgbClr val="0146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2" name="Rectangle 96"/>
            <p:cNvSpPr>
              <a:spLocks noChangeArrowheads="1"/>
            </p:cNvSpPr>
            <p:nvPr/>
          </p:nvSpPr>
          <p:spPr bwMode="auto">
            <a:xfrm>
              <a:off x="8463609" y="-857367"/>
              <a:ext cx="466725" cy="349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3" name="Rectangle 97"/>
            <p:cNvSpPr>
              <a:spLocks noChangeArrowheads="1"/>
            </p:cNvSpPr>
            <p:nvPr/>
          </p:nvSpPr>
          <p:spPr bwMode="auto">
            <a:xfrm>
              <a:off x="84540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4" name="Rectangle 98"/>
            <p:cNvSpPr>
              <a:spLocks noChangeArrowheads="1"/>
            </p:cNvSpPr>
            <p:nvPr/>
          </p:nvSpPr>
          <p:spPr bwMode="auto">
            <a:xfrm>
              <a:off x="85683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5" name="Rectangle 99"/>
            <p:cNvSpPr>
              <a:spLocks noChangeArrowheads="1"/>
            </p:cNvSpPr>
            <p:nvPr/>
          </p:nvSpPr>
          <p:spPr bwMode="auto">
            <a:xfrm>
              <a:off x="84969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6" name="Rectangle 100"/>
            <p:cNvSpPr>
              <a:spLocks noChangeArrowheads="1"/>
            </p:cNvSpPr>
            <p:nvPr/>
          </p:nvSpPr>
          <p:spPr bwMode="auto">
            <a:xfrm>
              <a:off x="84540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7" name="Rectangle 101"/>
            <p:cNvSpPr>
              <a:spLocks noChangeArrowheads="1"/>
            </p:cNvSpPr>
            <p:nvPr/>
          </p:nvSpPr>
          <p:spPr bwMode="auto">
            <a:xfrm>
              <a:off x="85683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8" name="Rectangle 102"/>
            <p:cNvSpPr>
              <a:spLocks noChangeArrowheads="1"/>
            </p:cNvSpPr>
            <p:nvPr/>
          </p:nvSpPr>
          <p:spPr bwMode="auto">
            <a:xfrm>
              <a:off x="8496946" y="-689092"/>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29" name="Rectangle 103"/>
            <p:cNvSpPr>
              <a:spLocks noChangeArrowheads="1"/>
            </p:cNvSpPr>
            <p:nvPr/>
          </p:nvSpPr>
          <p:spPr bwMode="auto">
            <a:xfrm>
              <a:off x="84540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0" name="Rectangle 104"/>
            <p:cNvSpPr>
              <a:spLocks noChangeArrowheads="1"/>
            </p:cNvSpPr>
            <p:nvPr/>
          </p:nvSpPr>
          <p:spPr bwMode="auto">
            <a:xfrm>
              <a:off x="85683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1" name="Rectangle 105"/>
            <p:cNvSpPr>
              <a:spLocks noChangeArrowheads="1"/>
            </p:cNvSpPr>
            <p:nvPr/>
          </p:nvSpPr>
          <p:spPr bwMode="auto">
            <a:xfrm>
              <a:off x="84985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2" name="Rectangle 106"/>
            <p:cNvSpPr>
              <a:spLocks noChangeArrowheads="1"/>
            </p:cNvSpPr>
            <p:nvPr/>
          </p:nvSpPr>
          <p:spPr bwMode="auto">
            <a:xfrm>
              <a:off x="85937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3" name="Rectangle 107"/>
            <p:cNvSpPr>
              <a:spLocks noChangeArrowheads="1"/>
            </p:cNvSpPr>
            <p:nvPr/>
          </p:nvSpPr>
          <p:spPr bwMode="auto">
            <a:xfrm>
              <a:off x="87080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4" name="Rectangle 108"/>
            <p:cNvSpPr>
              <a:spLocks noChangeArrowheads="1"/>
            </p:cNvSpPr>
            <p:nvPr/>
          </p:nvSpPr>
          <p:spPr bwMode="auto">
            <a:xfrm>
              <a:off x="86366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5" name="Rectangle 109"/>
            <p:cNvSpPr>
              <a:spLocks noChangeArrowheads="1"/>
            </p:cNvSpPr>
            <p:nvPr/>
          </p:nvSpPr>
          <p:spPr bwMode="auto">
            <a:xfrm>
              <a:off x="85937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6" name="Rectangle 110"/>
            <p:cNvSpPr>
              <a:spLocks noChangeArrowheads="1"/>
            </p:cNvSpPr>
            <p:nvPr/>
          </p:nvSpPr>
          <p:spPr bwMode="auto">
            <a:xfrm>
              <a:off x="87080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7" name="Rectangle 111"/>
            <p:cNvSpPr>
              <a:spLocks noChangeArrowheads="1"/>
            </p:cNvSpPr>
            <p:nvPr/>
          </p:nvSpPr>
          <p:spPr bwMode="auto">
            <a:xfrm>
              <a:off x="86382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8" name="Rectangle 112"/>
            <p:cNvSpPr>
              <a:spLocks noChangeArrowheads="1"/>
            </p:cNvSpPr>
            <p:nvPr/>
          </p:nvSpPr>
          <p:spPr bwMode="auto">
            <a:xfrm>
              <a:off x="85937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39" name="Rectangle 113"/>
            <p:cNvSpPr>
              <a:spLocks noChangeArrowheads="1"/>
            </p:cNvSpPr>
            <p:nvPr/>
          </p:nvSpPr>
          <p:spPr bwMode="auto">
            <a:xfrm>
              <a:off x="87080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0" name="Rectangle 114"/>
            <p:cNvSpPr>
              <a:spLocks noChangeArrowheads="1"/>
            </p:cNvSpPr>
            <p:nvPr/>
          </p:nvSpPr>
          <p:spPr bwMode="auto">
            <a:xfrm>
              <a:off x="86382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1" name="Rectangle 115"/>
            <p:cNvSpPr>
              <a:spLocks noChangeArrowheads="1"/>
            </p:cNvSpPr>
            <p:nvPr/>
          </p:nvSpPr>
          <p:spPr bwMode="auto">
            <a:xfrm>
              <a:off x="8733484" y="-582730"/>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2" name="Rectangle 116"/>
            <p:cNvSpPr>
              <a:spLocks noChangeArrowheads="1"/>
            </p:cNvSpPr>
            <p:nvPr/>
          </p:nvSpPr>
          <p:spPr bwMode="auto">
            <a:xfrm>
              <a:off x="8847784" y="-582730"/>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3" name="Rectangle 117"/>
            <p:cNvSpPr>
              <a:spLocks noChangeArrowheads="1"/>
            </p:cNvSpPr>
            <p:nvPr/>
          </p:nvSpPr>
          <p:spPr bwMode="auto">
            <a:xfrm>
              <a:off x="8776346" y="-582730"/>
              <a:ext cx="26987"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4" name="Rectangle 118"/>
            <p:cNvSpPr>
              <a:spLocks noChangeArrowheads="1"/>
            </p:cNvSpPr>
            <p:nvPr/>
          </p:nvSpPr>
          <p:spPr bwMode="auto">
            <a:xfrm>
              <a:off x="8733484" y="-689092"/>
              <a:ext cx="114300" cy="101600"/>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5" name="Rectangle 119"/>
            <p:cNvSpPr>
              <a:spLocks noChangeArrowheads="1"/>
            </p:cNvSpPr>
            <p:nvPr/>
          </p:nvSpPr>
          <p:spPr bwMode="auto">
            <a:xfrm>
              <a:off x="8847784" y="-689092"/>
              <a:ext cx="82550" cy="101600"/>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6" name="Rectangle 120"/>
            <p:cNvSpPr>
              <a:spLocks noChangeArrowheads="1"/>
            </p:cNvSpPr>
            <p:nvPr/>
          </p:nvSpPr>
          <p:spPr bwMode="auto">
            <a:xfrm>
              <a:off x="8777934" y="-689092"/>
              <a:ext cx="25400" cy="11113"/>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7" name="Rectangle 121"/>
            <p:cNvSpPr>
              <a:spLocks noChangeArrowheads="1"/>
            </p:cNvSpPr>
            <p:nvPr/>
          </p:nvSpPr>
          <p:spPr bwMode="auto">
            <a:xfrm>
              <a:off x="8733484" y="-795455"/>
              <a:ext cx="114300" cy="100013"/>
            </a:xfrm>
            <a:prstGeom prst="rect">
              <a:avLst/>
            </a:prstGeom>
            <a:solidFill>
              <a:srgbClr val="38A4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8" name="Rectangle 122"/>
            <p:cNvSpPr>
              <a:spLocks noChangeArrowheads="1"/>
            </p:cNvSpPr>
            <p:nvPr/>
          </p:nvSpPr>
          <p:spPr bwMode="auto">
            <a:xfrm>
              <a:off x="8847784" y="-795455"/>
              <a:ext cx="82550" cy="100013"/>
            </a:xfrm>
            <a:prstGeom prst="rect">
              <a:avLst/>
            </a:prstGeom>
            <a:solidFill>
              <a:srgbClr val="008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49" name="Rectangle 123"/>
            <p:cNvSpPr>
              <a:spLocks noChangeArrowheads="1"/>
            </p:cNvSpPr>
            <p:nvPr/>
          </p:nvSpPr>
          <p:spPr bwMode="auto">
            <a:xfrm>
              <a:off x="8777934" y="-795455"/>
              <a:ext cx="25400" cy="12700"/>
            </a:xfrm>
            <a:prstGeom prst="rect">
              <a:avLst/>
            </a:prstGeom>
            <a:solidFill>
              <a:srgbClr val="58AB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0" name="Freeform 124"/>
            <p:cNvSpPr>
              <a:spLocks/>
            </p:cNvSpPr>
            <p:nvPr/>
          </p:nvSpPr>
          <p:spPr bwMode="auto">
            <a:xfrm>
              <a:off x="8587434" y="-981192"/>
              <a:ext cx="53975" cy="79375"/>
            </a:xfrm>
            <a:custGeom>
              <a:avLst/>
              <a:gdLst>
                <a:gd name="T0" fmla="*/ 0 w 26"/>
                <a:gd name="T1" fmla="*/ 37 h 39"/>
                <a:gd name="T2" fmla="*/ 0 w 26"/>
                <a:gd name="T3" fmla="*/ 29 h 39"/>
                <a:gd name="T4" fmla="*/ 5 w 26"/>
                <a:gd name="T5" fmla="*/ 32 h 39"/>
                <a:gd name="T6" fmla="*/ 10 w 26"/>
                <a:gd name="T7" fmla="*/ 33 h 39"/>
                <a:gd name="T8" fmla="*/ 13 w 26"/>
                <a:gd name="T9" fmla="*/ 32 h 39"/>
                <a:gd name="T10" fmla="*/ 15 w 26"/>
                <a:gd name="T11" fmla="*/ 32 h 39"/>
                <a:gd name="T12" fmla="*/ 17 w 26"/>
                <a:gd name="T13" fmla="*/ 30 h 39"/>
                <a:gd name="T14" fmla="*/ 17 w 26"/>
                <a:gd name="T15" fmla="*/ 29 h 39"/>
                <a:gd name="T16" fmla="*/ 16 w 26"/>
                <a:gd name="T17" fmla="*/ 27 h 39"/>
                <a:gd name="T18" fmla="*/ 15 w 26"/>
                <a:gd name="T19" fmla="*/ 25 h 39"/>
                <a:gd name="T20" fmla="*/ 12 w 26"/>
                <a:gd name="T21" fmla="*/ 24 h 39"/>
                <a:gd name="T22" fmla="*/ 9 w 26"/>
                <a:gd name="T23" fmla="*/ 22 h 39"/>
                <a:gd name="T24" fmla="*/ 2 w 26"/>
                <a:gd name="T25" fmla="*/ 18 h 39"/>
                <a:gd name="T26" fmla="*/ 0 w 26"/>
                <a:gd name="T27" fmla="*/ 11 h 39"/>
                <a:gd name="T28" fmla="*/ 1 w 26"/>
                <a:gd name="T29" fmla="*/ 6 h 39"/>
                <a:gd name="T30" fmla="*/ 4 w 26"/>
                <a:gd name="T31" fmla="*/ 2 h 39"/>
                <a:gd name="T32" fmla="*/ 9 w 26"/>
                <a:gd name="T33" fmla="*/ 0 h 39"/>
                <a:gd name="T34" fmla="*/ 15 w 26"/>
                <a:gd name="T35" fmla="*/ 0 h 39"/>
                <a:gd name="T36" fmla="*/ 20 w 26"/>
                <a:gd name="T37" fmla="*/ 0 h 39"/>
                <a:gd name="T38" fmla="*/ 24 w 26"/>
                <a:gd name="T39" fmla="*/ 1 h 39"/>
                <a:gd name="T40" fmla="*/ 24 w 26"/>
                <a:gd name="T41" fmla="*/ 9 h 39"/>
                <a:gd name="T42" fmla="*/ 22 w 26"/>
                <a:gd name="T43" fmla="*/ 8 h 39"/>
                <a:gd name="T44" fmla="*/ 20 w 26"/>
                <a:gd name="T45" fmla="*/ 7 h 39"/>
                <a:gd name="T46" fmla="*/ 17 w 26"/>
                <a:gd name="T47" fmla="*/ 7 h 39"/>
                <a:gd name="T48" fmla="*/ 15 w 26"/>
                <a:gd name="T49" fmla="*/ 7 h 39"/>
                <a:gd name="T50" fmla="*/ 13 w 26"/>
                <a:gd name="T51" fmla="*/ 7 h 39"/>
                <a:gd name="T52" fmla="*/ 11 w 26"/>
                <a:gd name="T53" fmla="*/ 8 h 39"/>
                <a:gd name="T54" fmla="*/ 9 w 26"/>
                <a:gd name="T55" fmla="*/ 9 h 39"/>
                <a:gd name="T56" fmla="*/ 9 w 26"/>
                <a:gd name="T57" fmla="*/ 10 h 39"/>
                <a:gd name="T58" fmla="*/ 9 w 26"/>
                <a:gd name="T59" fmla="*/ 12 h 39"/>
                <a:gd name="T60" fmla="*/ 11 w 26"/>
                <a:gd name="T61" fmla="*/ 14 h 39"/>
                <a:gd name="T62" fmla="*/ 13 w 26"/>
                <a:gd name="T63" fmla="*/ 15 h 39"/>
                <a:gd name="T64" fmla="*/ 16 w 26"/>
                <a:gd name="T65" fmla="*/ 16 h 39"/>
                <a:gd name="T66" fmla="*/ 20 w 26"/>
                <a:gd name="T67" fmla="*/ 18 h 39"/>
                <a:gd name="T68" fmla="*/ 23 w 26"/>
                <a:gd name="T69" fmla="*/ 21 h 39"/>
                <a:gd name="T70" fmla="*/ 25 w 26"/>
                <a:gd name="T71" fmla="*/ 24 h 39"/>
                <a:gd name="T72" fmla="*/ 26 w 26"/>
                <a:gd name="T73" fmla="*/ 28 h 39"/>
                <a:gd name="T74" fmla="*/ 25 w 26"/>
                <a:gd name="T75" fmla="*/ 33 h 39"/>
                <a:gd name="T76" fmla="*/ 21 w 26"/>
                <a:gd name="T77" fmla="*/ 37 h 39"/>
                <a:gd name="T78" fmla="*/ 17 w 26"/>
                <a:gd name="T79" fmla="*/ 39 h 39"/>
                <a:gd name="T80" fmla="*/ 11 w 26"/>
                <a:gd name="T81" fmla="*/ 39 h 39"/>
                <a:gd name="T82" fmla="*/ 5 w 26"/>
                <a:gd name="T83" fmla="*/ 39 h 39"/>
                <a:gd name="T84" fmla="*/ 0 w 26"/>
                <a:gd name="T8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9">
                  <a:moveTo>
                    <a:pt x="0" y="37"/>
                  </a:moveTo>
                  <a:cubicBezTo>
                    <a:pt x="0" y="29"/>
                    <a:pt x="0" y="29"/>
                    <a:pt x="0" y="29"/>
                  </a:cubicBezTo>
                  <a:cubicBezTo>
                    <a:pt x="1" y="30"/>
                    <a:pt x="3" y="31"/>
                    <a:pt x="5" y="32"/>
                  </a:cubicBezTo>
                  <a:cubicBezTo>
                    <a:pt x="7" y="32"/>
                    <a:pt x="9" y="33"/>
                    <a:pt x="10" y="33"/>
                  </a:cubicBezTo>
                  <a:cubicBezTo>
                    <a:pt x="12" y="33"/>
                    <a:pt x="12" y="33"/>
                    <a:pt x="13" y="32"/>
                  </a:cubicBezTo>
                  <a:cubicBezTo>
                    <a:pt x="14" y="32"/>
                    <a:pt x="15" y="32"/>
                    <a:pt x="15" y="32"/>
                  </a:cubicBezTo>
                  <a:cubicBezTo>
                    <a:pt x="16" y="31"/>
                    <a:pt x="16" y="31"/>
                    <a:pt x="17" y="30"/>
                  </a:cubicBezTo>
                  <a:cubicBezTo>
                    <a:pt x="17" y="30"/>
                    <a:pt x="17" y="29"/>
                    <a:pt x="17" y="29"/>
                  </a:cubicBezTo>
                  <a:cubicBezTo>
                    <a:pt x="17" y="28"/>
                    <a:pt x="17" y="27"/>
                    <a:pt x="16" y="27"/>
                  </a:cubicBezTo>
                  <a:cubicBezTo>
                    <a:pt x="16" y="26"/>
                    <a:pt x="15" y="26"/>
                    <a:pt x="15" y="25"/>
                  </a:cubicBezTo>
                  <a:cubicBezTo>
                    <a:pt x="14" y="25"/>
                    <a:pt x="13" y="24"/>
                    <a:pt x="12" y="24"/>
                  </a:cubicBezTo>
                  <a:cubicBezTo>
                    <a:pt x="11" y="23"/>
                    <a:pt x="10" y="23"/>
                    <a:pt x="9" y="22"/>
                  </a:cubicBezTo>
                  <a:cubicBezTo>
                    <a:pt x="6" y="21"/>
                    <a:pt x="3" y="20"/>
                    <a:pt x="2" y="18"/>
                  </a:cubicBezTo>
                  <a:cubicBezTo>
                    <a:pt x="0" y="16"/>
                    <a:pt x="0" y="14"/>
                    <a:pt x="0" y="11"/>
                  </a:cubicBezTo>
                  <a:cubicBezTo>
                    <a:pt x="0" y="9"/>
                    <a:pt x="0" y="7"/>
                    <a:pt x="1" y="6"/>
                  </a:cubicBezTo>
                  <a:cubicBezTo>
                    <a:pt x="2" y="5"/>
                    <a:pt x="3" y="3"/>
                    <a:pt x="4" y="2"/>
                  </a:cubicBezTo>
                  <a:cubicBezTo>
                    <a:pt x="6" y="2"/>
                    <a:pt x="7" y="1"/>
                    <a:pt x="9" y="0"/>
                  </a:cubicBezTo>
                  <a:cubicBezTo>
                    <a:pt x="11" y="0"/>
                    <a:pt x="13" y="0"/>
                    <a:pt x="15" y="0"/>
                  </a:cubicBezTo>
                  <a:cubicBezTo>
                    <a:pt x="17" y="0"/>
                    <a:pt x="19" y="0"/>
                    <a:pt x="20" y="0"/>
                  </a:cubicBezTo>
                  <a:cubicBezTo>
                    <a:pt x="22" y="0"/>
                    <a:pt x="23" y="1"/>
                    <a:pt x="24" y="1"/>
                  </a:cubicBezTo>
                  <a:cubicBezTo>
                    <a:pt x="24" y="9"/>
                    <a:pt x="24" y="9"/>
                    <a:pt x="24" y="9"/>
                  </a:cubicBezTo>
                  <a:cubicBezTo>
                    <a:pt x="24" y="9"/>
                    <a:pt x="23" y="8"/>
                    <a:pt x="22" y="8"/>
                  </a:cubicBezTo>
                  <a:cubicBezTo>
                    <a:pt x="21" y="8"/>
                    <a:pt x="21" y="7"/>
                    <a:pt x="20" y="7"/>
                  </a:cubicBezTo>
                  <a:cubicBezTo>
                    <a:pt x="19" y="7"/>
                    <a:pt x="18" y="7"/>
                    <a:pt x="17" y="7"/>
                  </a:cubicBezTo>
                  <a:cubicBezTo>
                    <a:pt x="17" y="7"/>
                    <a:pt x="16" y="7"/>
                    <a:pt x="15" y="7"/>
                  </a:cubicBezTo>
                  <a:cubicBezTo>
                    <a:pt x="14" y="7"/>
                    <a:pt x="13" y="7"/>
                    <a:pt x="13" y="7"/>
                  </a:cubicBezTo>
                  <a:cubicBezTo>
                    <a:pt x="12" y="7"/>
                    <a:pt x="11" y="7"/>
                    <a:pt x="11" y="8"/>
                  </a:cubicBezTo>
                  <a:cubicBezTo>
                    <a:pt x="10" y="8"/>
                    <a:pt x="10" y="8"/>
                    <a:pt x="9" y="9"/>
                  </a:cubicBezTo>
                  <a:cubicBezTo>
                    <a:pt x="9" y="9"/>
                    <a:pt x="9" y="10"/>
                    <a:pt x="9" y="10"/>
                  </a:cubicBezTo>
                  <a:cubicBezTo>
                    <a:pt x="9" y="11"/>
                    <a:pt x="9" y="12"/>
                    <a:pt x="9" y="12"/>
                  </a:cubicBezTo>
                  <a:cubicBezTo>
                    <a:pt x="10" y="13"/>
                    <a:pt x="10" y="13"/>
                    <a:pt x="11" y="14"/>
                  </a:cubicBezTo>
                  <a:cubicBezTo>
                    <a:pt x="11" y="14"/>
                    <a:pt x="12" y="15"/>
                    <a:pt x="13" y="15"/>
                  </a:cubicBezTo>
                  <a:cubicBezTo>
                    <a:pt x="14" y="15"/>
                    <a:pt x="15" y="16"/>
                    <a:pt x="16" y="16"/>
                  </a:cubicBezTo>
                  <a:cubicBezTo>
                    <a:pt x="18" y="17"/>
                    <a:pt x="19" y="18"/>
                    <a:pt x="20" y="18"/>
                  </a:cubicBezTo>
                  <a:cubicBezTo>
                    <a:pt x="21" y="19"/>
                    <a:pt x="22" y="20"/>
                    <a:pt x="23" y="21"/>
                  </a:cubicBezTo>
                  <a:cubicBezTo>
                    <a:pt x="24" y="22"/>
                    <a:pt x="25" y="23"/>
                    <a:pt x="25" y="24"/>
                  </a:cubicBezTo>
                  <a:cubicBezTo>
                    <a:pt x="26" y="25"/>
                    <a:pt x="26" y="26"/>
                    <a:pt x="26" y="28"/>
                  </a:cubicBezTo>
                  <a:cubicBezTo>
                    <a:pt x="26" y="30"/>
                    <a:pt x="26" y="32"/>
                    <a:pt x="25" y="33"/>
                  </a:cubicBezTo>
                  <a:cubicBezTo>
                    <a:pt x="24" y="35"/>
                    <a:pt x="23" y="36"/>
                    <a:pt x="21" y="37"/>
                  </a:cubicBezTo>
                  <a:cubicBezTo>
                    <a:pt x="20" y="38"/>
                    <a:pt x="18" y="39"/>
                    <a:pt x="17" y="39"/>
                  </a:cubicBezTo>
                  <a:cubicBezTo>
                    <a:pt x="15" y="39"/>
                    <a:pt x="13" y="39"/>
                    <a:pt x="11" y="39"/>
                  </a:cubicBezTo>
                  <a:cubicBezTo>
                    <a:pt x="9" y="39"/>
                    <a:pt x="7" y="39"/>
                    <a:pt x="5" y="39"/>
                  </a:cubicBezTo>
                  <a:cubicBezTo>
                    <a:pt x="3" y="39"/>
                    <a:pt x="1" y="38"/>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1" name="Freeform 125"/>
            <p:cNvSpPr>
              <a:spLocks noEditPoints="1"/>
            </p:cNvSpPr>
            <p:nvPr/>
          </p:nvSpPr>
          <p:spPr bwMode="auto">
            <a:xfrm>
              <a:off x="8649346" y="-981192"/>
              <a:ext cx="84137" cy="88900"/>
            </a:xfrm>
            <a:custGeom>
              <a:avLst/>
              <a:gdLst>
                <a:gd name="T0" fmla="*/ 19 w 41"/>
                <a:gd name="T1" fmla="*/ 39 h 44"/>
                <a:gd name="T2" fmla="*/ 5 w 41"/>
                <a:gd name="T3" fmla="*/ 34 h 44"/>
                <a:gd name="T4" fmla="*/ 0 w 41"/>
                <a:gd name="T5" fmla="*/ 20 h 44"/>
                <a:gd name="T6" fmla="*/ 5 w 41"/>
                <a:gd name="T7" fmla="*/ 5 h 44"/>
                <a:gd name="T8" fmla="*/ 19 w 41"/>
                <a:gd name="T9" fmla="*/ 0 h 44"/>
                <a:gd name="T10" fmla="*/ 32 w 41"/>
                <a:gd name="T11" fmla="*/ 5 h 44"/>
                <a:gd name="T12" fmla="*/ 38 w 41"/>
                <a:gd name="T13" fmla="*/ 19 h 44"/>
                <a:gd name="T14" fmla="*/ 32 w 41"/>
                <a:gd name="T15" fmla="*/ 34 h 44"/>
                <a:gd name="T16" fmla="*/ 32 w 41"/>
                <a:gd name="T17" fmla="*/ 34 h 44"/>
                <a:gd name="T18" fmla="*/ 32 w 41"/>
                <a:gd name="T19" fmla="*/ 35 h 44"/>
                <a:gd name="T20" fmla="*/ 41 w 41"/>
                <a:gd name="T21" fmla="*/ 44 h 44"/>
                <a:gd name="T22" fmla="*/ 29 w 41"/>
                <a:gd name="T23" fmla="*/ 44 h 44"/>
                <a:gd name="T24" fmla="*/ 24 w 41"/>
                <a:gd name="T25" fmla="*/ 39 h 44"/>
                <a:gd name="T26" fmla="*/ 19 w 41"/>
                <a:gd name="T27" fmla="*/ 39 h 44"/>
                <a:gd name="T28" fmla="*/ 19 w 41"/>
                <a:gd name="T29" fmla="*/ 7 h 44"/>
                <a:gd name="T30" fmla="*/ 12 w 41"/>
                <a:gd name="T31" fmla="*/ 11 h 44"/>
                <a:gd name="T32" fmla="*/ 9 w 41"/>
                <a:gd name="T33" fmla="*/ 20 h 44"/>
                <a:gd name="T34" fmla="*/ 12 w 41"/>
                <a:gd name="T35" fmla="*/ 29 h 44"/>
                <a:gd name="T36" fmla="*/ 19 w 41"/>
                <a:gd name="T37" fmla="*/ 32 h 44"/>
                <a:gd name="T38" fmla="*/ 26 w 41"/>
                <a:gd name="T39" fmla="*/ 29 h 44"/>
                <a:gd name="T40" fmla="*/ 28 w 41"/>
                <a:gd name="T41" fmla="*/ 20 h 44"/>
                <a:gd name="T42" fmla="*/ 26 w 41"/>
                <a:gd name="T43" fmla="*/ 11 h 44"/>
                <a:gd name="T44" fmla="*/ 19 w 41"/>
                <a:gd name="T45"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44">
                  <a:moveTo>
                    <a:pt x="19" y="39"/>
                  </a:moveTo>
                  <a:cubicBezTo>
                    <a:pt x="13" y="39"/>
                    <a:pt x="9" y="38"/>
                    <a:pt x="5" y="34"/>
                  </a:cubicBezTo>
                  <a:cubicBezTo>
                    <a:pt x="2" y="31"/>
                    <a:pt x="0" y="26"/>
                    <a:pt x="0" y="20"/>
                  </a:cubicBezTo>
                  <a:cubicBezTo>
                    <a:pt x="0" y="14"/>
                    <a:pt x="2" y="9"/>
                    <a:pt x="5" y="5"/>
                  </a:cubicBezTo>
                  <a:cubicBezTo>
                    <a:pt x="9" y="2"/>
                    <a:pt x="13" y="0"/>
                    <a:pt x="19" y="0"/>
                  </a:cubicBezTo>
                  <a:cubicBezTo>
                    <a:pt x="25" y="0"/>
                    <a:pt x="29" y="2"/>
                    <a:pt x="32" y="5"/>
                  </a:cubicBezTo>
                  <a:cubicBezTo>
                    <a:pt x="36" y="9"/>
                    <a:pt x="38" y="13"/>
                    <a:pt x="38" y="19"/>
                  </a:cubicBezTo>
                  <a:cubicBezTo>
                    <a:pt x="38" y="25"/>
                    <a:pt x="36" y="30"/>
                    <a:pt x="32" y="34"/>
                  </a:cubicBezTo>
                  <a:cubicBezTo>
                    <a:pt x="32" y="34"/>
                    <a:pt x="32" y="34"/>
                    <a:pt x="32" y="34"/>
                  </a:cubicBezTo>
                  <a:cubicBezTo>
                    <a:pt x="32" y="34"/>
                    <a:pt x="32" y="35"/>
                    <a:pt x="32" y="35"/>
                  </a:cubicBezTo>
                  <a:cubicBezTo>
                    <a:pt x="41" y="44"/>
                    <a:pt x="41" y="44"/>
                    <a:pt x="41" y="44"/>
                  </a:cubicBezTo>
                  <a:cubicBezTo>
                    <a:pt x="29" y="44"/>
                    <a:pt x="29" y="44"/>
                    <a:pt x="29" y="44"/>
                  </a:cubicBezTo>
                  <a:cubicBezTo>
                    <a:pt x="24" y="39"/>
                    <a:pt x="24" y="39"/>
                    <a:pt x="24" y="39"/>
                  </a:cubicBezTo>
                  <a:cubicBezTo>
                    <a:pt x="22" y="39"/>
                    <a:pt x="21" y="39"/>
                    <a:pt x="19" y="39"/>
                  </a:cubicBezTo>
                  <a:close/>
                  <a:moveTo>
                    <a:pt x="19" y="7"/>
                  </a:moveTo>
                  <a:cubicBezTo>
                    <a:pt x="16" y="7"/>
                    <a:pt x="14" y="8"/>
                    <a:pt x="12" y="11"/>
                  </a:cubicBezTo>
                  <a:cubicBezTo>
                    <a:pt x="10" y="13"/>
                    <a:pt x="9" y="16"/>
                    <a:pt x="9" y="20"/>
                  </a:cubicBezTo>
                  <a:cubicBezTo>
                    <a:pt x="9" y="23"/>
                    <a:pt x="10" y="26"/>
                    <a:pt x="12" y="29"/>
                  </a:cubicBezTo>
                  <a:cubicBezTo>
                    <a:pt x="13" y="31"/>
                    <a:pt x="16" y="32"/>
                    <a:pt x="19" y="32"/>
                  </a:cubicBezTo>
                  <a:cubicBezTo>
                    <a:pt x="22" y="32"/>
                    <a:pt x="24" y="31"/>
                    <a:pt x="26" y="29"/>
                  </a:cubicBezTo>
                  <a:cubicBezTo>
                    <a:pt x="28" y="27"/>
                    <a:pt x="28" y="24"/>
                    <a:pt x="28" y="20"/>
                  </a:cubicBezTo>
                  <a:cubicBezTo>
                    <a:pt x="28" y="16"/>
                    <a:pt x="28" y="13"/>
                    <a:pt x="26" y="11"/>
                  </a:cubicBezTo>
                  <a:cubicBezTo>
                    <a:pt x="24" y="8"/>
                    <a:pt x="22" y="7"/>
                    <a:pt x="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2" name="Freeform 126"/>
            <p:cNvSpPr>
              <a:spLocks/>
            </p:cNvSpPr>
            <p:nvPr/>
          </p:nvSpPr>
          <p:spPr bwMode="auto">
            <a:xfrm>
              <a:off x="8739834" y="-981192"/>
              <a:ext cx="46037" cy="79375"/>
            </a:xfrm>
            <a:custGeom>
              <a:avLst/>
              <a:gdLst>
                <a:gd name="T0" fmla="*/ 29 w 29"/>
                <a:gd name="T1" fmla="*/ 50 h 50"/>
                <a:gd name="T2" fmla="*/ 0 w 29"/>
                <a:gd name="T3" fmla="*/ 50 h 50"/>
                <a:gd name="T4" fmla="*/ 0 w 29"/>
                <a:gd name="T5" fmla="*/ 0 h 50"/>
                <a:gd name="T6" fmla="*/ 11 w 29"/>
                <a:gd name="T7" fmla="*/ 0 h 50"/>
                <a:gd name="T8" fmla="*/ 11 w 29"/>
                <a:gd name="T9" fmla="*/ 41 h 50"/>
                <a:gd name="T10" fmla="*/ 29 w 29"/>
                <a:gd name="T11" fmla="*/ 41 h 50"/>
                <a:gd name="T12" fmla="*/ 29 w 29"/>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9" h="50">
                  <a:moveTo>
                    <a:pt x="29" y="50"/>
                  </a:moveTo>
                  <a:lnTo>
                    <a:pt x="0" y="50"/>
                  </a:lnTo>
                  <a:lnTo>
                    <a:pt x="0" y="0"/>
                  </a:lnTo>
                  <a:lnTo>
                    <a:pt x="11" y="0"/>
                  </a:lnTo>
                  <a:lnTo>
                    <a:pt x="11" y="41"/>
                  </a:lnTo>
                  <a:lnTo>
                    <a:pt x="29" y="41"/>
                  </a:lnTo>
                  <a:lnTo>
                    <a:pt x="2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50407" fontAlgn="base">
                <a:spcBef>
                  <a:spcPct val="0"/>
                </a:spcBef>
                <a:spcAft>
                  <a:spcPct val="0"/>
                </a:spcAft>
                <a:defRPr/>
              </a:pPr>
              <a:endParaRPr lang="en-US" sz="2448" kern="0">
                <a:solidFill>
                  <a:srgbClr val="000000"/>
                </a:solidFill>
                <a:latin typeface="Segoe UI" charset="0"/>
              </a:endParaRPr>
            </a:p>
          </p:txBody>
        </p:sp>
        <p:sp>
          <p:nvSpPr>
            <p:cNvPr id="53" name="Rectangle 52"/>
            <p:cNvSpPr/>
            <p:nvPr/>
          </p:nvSpPr>
          <p:spPr bwMode="auto">
            <a:xfrm>
              <a:off x="9001539" y="-1363460"/>
              <a:ext cx="1090149" cy="54101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fontAlgn="base">
                <a:lnSpc>
                  <a:spcPct val="90000"/>
                </a:lnSpc>
                <a:spcBef>
                  <a:spcPct val="0"/>
                </a:spcBef>
                <a:spcAft>
                  <a:spcPct val="0"/>
                </a:spcAft>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nvGrpSpPr>
            <p:cNvPr id="54" name="Group 53"/>
            <p:cNvGrpSpPr/>
            <p:nvPr/>
          </p:nvGrpSpPr>
          <p:grpSpPr>
            <a:xfrm>
              <a:off x="8985896" y="-1542000"/>
              <a:ext cx="914401" cy="1187440"/>
              <a:chOff x="6586081" y="-1693595"/>
              <a:chExt cx="914401" cy="1187440"/>
            </a:xfrm>
          </p:grpSpPr>
          <p:sp>
            <p:nvSpPr>
              <p:cNvPr id="55" name="Oval 54"/>
              <p:cNvSpPr>
                <a:spLocks noChangeArrowheads="1"/>
              </p:cNvSpPr>
              <p:nvPr/>
            </p:nvSpPr>
            <p:spPr bwMode="auto">
              <a:xfrm>
                <a:off x="6601724" y="-1693595"/>
                <a:ext cx="883114" cy="167806"/>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latin typeface="Segoe UI"/>
                </a:endParaRPr>
              </a:p>
            </p:txBody>
          </p:sp>
          <p:sp>
            <p:nvSpPr>
              <p:cNvPr id="56" name="Freeform 123"/>
              <p:cNvSpPr>
                <a:spLocks noEditPoints="1"/>
              </p:cNvSpPr>
              <p:nvPr/>
            </p:nvSpPr>
            <p:spPr bwMode="auto">
              <a:xfrm>
                <a:off x="6586081" y="-1576981"/>
                <a:ext cx="914401" cy="107082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sz="1836" kern="0" dirty="0">
                  <a:solidFill>
                    <a:srgbClr val="FFFFFF"/>
                  </a:solidFill>
                  <a:latin typeface="Segoe UI"/>
                </a:endParaRPr>
              </a:p>
            </p:txBody>
          </p:sp>
        </p:grpSp>
      </p:grpSp>
      <p:grpSp>
        <p:nvGrpSpPr>
          <p:cNvPr id="59" name="Group 58"/>
          <p:cNvGrpSpPr/>
          <p:nvPr/>
        </p:nvGrpSpPr>
        <p:grpSpPr>
          <a:xfrm>
            <a:off x="5645010" y="4251885"/>
            <a:ext cx="1241991" cy="943137"/>
            <a:chOff x="7725841" y="4083216"/>
            <a:chExt cx="990690" cy="752305"/>
          </a:xfrm>
        </p:grpSpPr>
        <p:sp>
          <p:nvSpPr>
            <p:cNvPr id="57" name="Freeform 56"/>
            <p:cNvSpPr/>
            <p:nvPr/>
          </p:nvSpPr>
          <p:spPr bwMode="auto">
            <a:xfrm>
              <a:off x="7725841" y="4083216"/>
              <a:ext cx="990690" cy="752305"/>
            </a:xfrm>
            <a:custGeom>
              <a:avLst/>
              <a:gdLst>
                <a:gd name="connsiteX0" fmla="*/ 6673 w 990690"/>
                <a:gd name="connsiteY0" fmla="*/ 147731 h 752305"/>
                <a:gd name="connsiteX1" fmla="*/ 984017 w 990690"/>
                <a:gd name="connsiteY1" fmla="*/ 147731 h 752305"/>
                <a:gd name="connsiteX2" fmla="*/ 990312 w 990690"/>
                <a:gd name="connsiteY2" fmla="*/ 153489 h 752305"/>
                <a:gd name="connsiteX3" fmla="*/ 990357 w 990690"/>
                <a:gd name="connsiteY3" fmla="*/ 153489 h 752305"/>
                <a:gd name="connsiteX4" fmla="*/ 990400 w 990690"/>
                <a:gd name="connsiteY4" fmla="*/ 153702 h 752305"/>
                <a:gd name="connsiteX5" fmla="*/ 990690 w 990690"/>
                <a:gd name="connsiteY5" fmla="*/ 154404 h 752305"/>
                <a:gd name="connsiteX6" fmla="*/ 990690 w 990690"/>
                <a:gd name="connsiteY6" fmla="*/ 155142 h 752305"/>
                <a:gd name="connsiteX7" fmla="*/ 990690 w 990690"/>
                <a:gd name="connsiteY7" fmla="*/ 167750 h 752305"/>
                <a:gd name="connsiteX8" fmla="*/ 990690 w 990690"/>
                <a:gd name="connsiteY8" fmla="*/ 730287 h 752305"/>
                <a:gd name="connsiteX9" fmla="*/ 968672 w 990690"/>
                <a:gd name="connsiteY9" fmla="*/ 752305 h 752305"/>
                <a:gd name="connsiteX10" fmla="*/ 22018 w 990690"/>
                <a:gd name="connsiteY10" fmla="*/ 752305 h 752305"/>
                <a:gd name="connsiteX11" fmla="*/ 0 w 990690"/>
                <a:gd name="connsiteY11" fmla="*/ 730287 h 752305"/>
                <a:gd name="connsiteX12" fmla="*/ 0 w 990690"/>
                <a:gd name="connsiteY12" fmla="*/ 167750 h 752305"/>
                <a:gd name="connsiteX13" fmla="*/ 0 w 990690"/>
                <a:gd name="connsiteY13" fmla="*/ 155142 h 752305"/>
                <a:gd name="connsiteX14" fmla="*/ 0 w 990690"/>
                <a:gd name="connsiteY14" fmla="*/ 154404 h 752305"/>
                <a:gd name="connsiteX15" fmla="*/ 291 w 990690"/>
                <a:gd name="connsiteY15" fmla="*/ 153701 h 752305"/>
                <a:gd name="connsiteX16" fmla="*/ 334 w 990690"/>
                <a:gd name="connsiteY16" fmla="*/ 153489 h 752305"/>
                <a:gd name="connsiteX17" fmla="*/ 379 w 990690"/>
                <a:gd name="connsiteY17" fmla="*/ 153489 h 752305"/>
                <a:gd name="connsiteX18" fmla="*/ 6673 w 990690"/>
                <a:gd name="connsiteY18" fmla="*/ 147731 h 752305"/>
                <a:gd name="connsiteX19" fmla="*/ 109998 w 990690"/>
                <a:gd name="connsiteY19" fmla="*/ 0 h 752305"/>
                <a:gd name="connsiteX20" fmla="*/ 413872 w 990690"/>
                <a:gd name="connsiteY20" fmla="*/ 0 h 752305"/>
                <a:gd name="connsiteX21" fmla="*/ 445368 w 990690"/>
                <a:gd name="connsiteY21" fmla="*/ 31495 h 752305"/>
                <a:gd name="connsiteX22" fmla="*/ 445368 w 990690"/>
                <a:gd name="connsiteY22" fmla="*/ 90138 h 752305"/>
                <a:gd name="connsiteX23" fmla="*/ 937888 w 990690"/>
                <a:gd name="connsiteY23" fmla="*/ 90138 h 752305"/>
                <a:gd name="connsiteX24" fmla="*/ 946904 w 990690"/>
                <a:gd name="connsiteY24" fmla="*/ 99155 h 752305"/>
                <a:gd name="connsiteX25" fmla="*/ 946904 w 990690"/>
                <a:gd name="connsiteY25" fmla="*/ 132850 h 752305"/>
                <a:gd name="connsiteX26" fmla="*/ 44447 w 990690"/>
                <a:gd name="connsiteY26" fmla="*/ 132850 h 752305"/>
                <a:gd name="connsiteX27" fmla="*/ 44447 w 990690"/>
                <a:gd name="connsiteY27" fmla="*/ 99155 h 752305"/>
                <a:gd name="connsiteX28" fmla="*/ 53463 w 990690"/>
                <a:gd name="connsiteY28" fmla="*/ 90138 h 752305"/>
                <a:gd name="connsiteX29" fmla="*/ 78502 w 990690"/>
                <a:gd name="connsiteY29" fmla="*/ 90138 h 752305"/>
                <a:gd name="connsiteX30" fmla="*/ 78502 w 990690"/>
                <a:gd name="connsiteY30" fmla="*/ 31495 h 752305"/>
                <a:gd name="connsiteX31" fmla="*/ 109998 w 990690"/>
                <a:gd name="connsiteY31" fmla="*/ 0 h 75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0690" h="752305">
                  <a:moveTo>
                    <a:pt x="6673" y="147731"/>
                  </a:moveTo>
                  <a:lnTo>
                    <a:pt x="984017" y="147731"/>
                  </a:lnTo>
                  <a:cubicBezTo>
                    <a:pt x="987377" y="147731"/>
                    <a:pt x="990157" y="150214"/>
                    <a:pt x="990312" y="153489"/>
                  </a:cubicBezTo>
                  <a:lnTo>
                    <a:pt x="990357" y="153489"/>
                  </a:lnTo>
                  <a:lnTo>
                    <a:pt x="990400" y="153702"/>
                  </a:lnTo>
                  <a:cubicBezTo>
                    <a:pt x="990677" y="153914"/>
                    <a:pt x="990690" y="154158"/>
                    <a:pt x="990690" y="154404"/>
                  </a:cubicBezTo>
                  <a:lnTo>
                    <a:pt x="990690" y="155142"/>
                  </a:lnTo>
                  <a:lnTo>
                    <a:pt x="990690" y="167750"/>
                  </a:lnTo>
                  <a:lnTo>
                    <a:pt x="990690" y="730287"/>
                  </a:lnTo>
                  <a:cubicBezTo>
                    <a:pt x="990690" y="742447"/>
                    <a:pt x="980832" y="752305"/>
                    <a:pt x="968672" y="752305"/>
                  </a:cubicBezTo>
                  <a:lnTo>
                    <a:pt x="22018" y="752305"/>
                  </a:lnTo>
                  <a:cubicBezTo>
                    <a:pt x="9858" y="752305"/>
                    <a:pt x="0" y="742447"/>
                    <a:pt x="0" y="730287"/>
                  </a:cubicBezTo>
                  <a:lnTo>
                    <a:pt x="0" y="167750"/>
                  </a:lnTo>
                  <a:lnTo>
                    <a:pt x="0" y="155142"/>
                  </a:lnTo>
                  <a:lnTo>
                    <a:pt x="0" y="154404"/>
                  </a:lnTo>
                  <a:lnTo>
                    <a:pt x="291" y="153701"/>
                  </a:lnTo>
                  <a:lnTo>
                    <a:pt x="334" y="153489"/>
                  </a:lnTo>
                  <a:lnTo>
                    <a:pt x="379" y="153489"/>
                  </a:lnTo>
                  <a:cubicBezTo>
                    <a:pt x="533" y="150214"/>
                    <a:pt x="3313" y="147731"/>
                    <a:pt x="6673" y="147731"/>
                  </a:cubicBezTo>
                  <a:close/>
                  <a:moveTo>
                    <a:pt x="109998" y="0"/>
                  </a:moveTo>
                  <a:lnTo>
                    <a:pt x="413872" y="0"/>
                  </a:lnTo>
                  <a:cubicBezTo>
                    <a:pt x="431267" y="0"/>
                    <a:pt x="445368" y="14101"/>
                    <a:pt x="445368" y="31495"/>
                  </a:cubicBezTo>
                  <a:lnTo>
                    <a:pt x="445368" y="90138"/>
                  </a:lnTo>
                  <a:lnTo>
                    <a:pt x="937888" y="90138"/>
                  </a:lnTo>
                  <a:cubicBezTo>
                    <a:pt x="942868" y="90138"/>
                    <a:pt x="946904" y="94175"/>
                    <a:pt x="946904" y="99155"/>
                  </a:cubicBezTo>
                  <a:lnTo>
                    <a:pt x="946904" y="132850"/>
                  </a:lnTo>
                  <a:lnTo>
                    <a:pt x="44447" y="132850"/>
                  </a:lnTo>
                  <a:lnTo>
                    <a:pt x="44447" y="99155"/>
                  </a:lnTo>
                  <a:cubicBezTo>
                    <a:pt x="44447" y="94175"/>
                    <a:pt x="48484" y="90138"/>
                    <a:pt x="53463" y="90138"/>
                  </a:cubicBezTo>
                  <a:lnTo>
                    <a:pt x="78502" y="90138"/>
                  </a:lnTo>
                  <a:lnTo>
                    <a:pt x="78502" y="31495"/>
                  </a:lnTo>
                  <a:cubicBezTo>
                    <a:pt x="78502" y="14101"/>
                    <a:pt x="92603" y="0"/>
                    <a:pt x="109998"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sp>
          <p:nvSpPr>
            <p:cNvPr id="58" name="Freeform 57"/>
            <p:cNvSpPr/>
            <p:nvPr/>
          </p:nvSpPr>
          <p:spPr bwMode="auto">
            <a:xfrm rot="12373696">
              <a:off x="8080882" y="4237699"/>
              <a:ext cx="237917" cy="552664"/>
            </a:xfrm>
            <a:custGeom>
              <a:avLst/>
              <a:gdLst>
                <a:gd name="connsiteX0" fmla="*/ 200290 w 285509"/>
                <a:gd name="connsiteY0" fmla="*/ 552664 h 552664"/>
                <a:gd name="connsiteX1" fmla="*/ 118129 w 285509"/>
                <a:gd name="connsiteY1" fmla="*/ 360121 h 552664"/>
                <a:gd name="connsiteX2" fmla="*/ 0 w 285509"/>
                <a:gd name="connsiteY2" fmla="*/ 360121 h 552664"/>
                <a:gd name="connsiteX3" fmla="*/ 109094 w 285509"/>
                <a:gd name="connsiteY3" fmla="*/ 0 h 552664"/>
                <a:gd name="connsiteX4" fmla="*/ 167865 w 285509"/>
                <a:gd name="connsiteY4" fmla="*/ 194005 h 552664"/>
                <a:gd name="connsiteX5" fmla="*/ 285509 w 285509"/>
                <a:gd name="connsiteY5" fmla="*/ 183602 h 5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509" h="552664">
                  <a:moveTo>
                    <a:pt x="200290" y="552664"/>
                  </a:moveTo>
                  <a:lnTo>
                    <a:pt x="118129" y="360121"/>
                  </a:lnTo>
                  <a:lnTo>
                    <a:pt x="0" y="360121"/>
                  </a:lnTo>
                  <a:lnTo>
                    <a:pt x="109094" y="0"/>
                  </a:lnTo>
                  <a:lnTo>
                    <a:pt x="167865" y="194005"/>
                  </a:lnTo>
                  <a:lnTo>
                    <a:pt x="285509" y="183602"/>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GB" sz="2040" b="1" dirty="0">
                <a:solidFill>
                  <a:srgbClr val="FFFFFF"/>
                </a:solidFill>
                <a:latin typeface="Segoe UI Light"/>
                <a:ea typeface="Segoe UI" pitchFamily="34" charset="0"/>
                <a:cs typeface="Segoe UI" pitchFamily="34" charset="0"/>
              </a:endParaRPr>
            </a:p>
          </p:txBody>
        </p:sp>
      </p:grpSp>
      <p:grpSp>
        <p:nvGrpSpPr>
          <p:cNvPr id="64" name="Group 63"/>
          <p:cNvGrpSpPr/>
          <p:nvPr/>
        </p:nvGrpSpPr>
        <p:grpSpPr>
          <a:xfrm>
            <a:off x="10124954" y="4256774"/>
            <a:ext cx="1164663" cy="980476"/>
            <a:chOff x="10366875" y="4539548"/>
            <a:chExt cx="1006836" cy="847608"/>
          </a:xfrm>
        </p:grpSpPr>
        <p:sp>
          <p:nvSpPr>
            <p:cNvPr id="65" name="Oval 64"/>
            <p:cNvSpPr>
              <a:spLocks noChangeArrowheads="1"/>
            </p:cNvSpPr>
            <p:nvPr/>
          </p:nvSpPr>
          <p:spPr bwMode="auto">
            <a:xfrm>
              <a:off x="10376911" y="4539548"/>
              <a:ext cx="566545" cy="109286"/>
            </a:xfrm>
            <a:prstGeom prst="ellipse">
              <a:avLst/>
            </a:prstGeom>
            <a:solidFill>
              <a:srgbClr val="1F4E79"/>
            </a:solidFill>
            <a:ln>
              <a:noFill/>
            </a:ln>
            <a:extLst/>
          </p:spPr>
          <p:txBody>
            <a:bodyPr vert="horz" wrap="square" lIns="93234" tIns="46616" rIns="93234" bIns="46616" numCol="1" anchor="t" anchorCtr="0" compatLnSpc="1">
              <a:prstTxWarp prst="textNoShape">
                <a:avLst/>
              </a:prstTxWarp>
            </a:bodyPr>
            <a:lstStyle/>
            <a:p>
              <a:pPr defTabSz="950973">
                <a:defRPr/>
              </a:pPr>
              <a:endParaRPr lang="en-US" sz="1836" kern="0" dirty="0">
                <a:solidFill>
                  <a:srgbClr val="FFFFFF"/>
                </a:solidFill>
                <a:latin typeface="Segoe UI"/>
              </a:endParaRPr>
            </a:p>
          </p:txBody>
        </p:sp>
        <p:grpSp>
          <p:nvGrpSpPr>
            <p:cNvPr id="66" name="Group 65"/>
            <p:cNvGrpSpPr/>
            <p:nvPr/>
          </p:nvGrpSpPr>
          <p:grpSpPr>
            <a:xfrm>
              <a:off x="10366875" y="4615494"/>
              <a:ext cx="1006836" cy="771662"/>
              <a:chOff x="10366875" y="4615494"/>
              <a:chExt cx="1006836" cy="771662"/>
            </a:xfrm>
          </p:grpSpPr>
          <p:sp>
            <p:nvSpPr>
              <p:cNvPr id="67" name="Freeform 123"/>
              <p:cNvSpPr>
                <a:spLocks noEditPoints="1"/>
              </p:cNvSpPr>
              <p:nvPr/>
            </p:nvSpPr>
            <p:spPr bwMode="auto">
              <a:xfrm>
                <a:off x="10366875" y="4615494"/>
                <a:ext cx="586616" cy="697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3234" tIns="46616" rIns="93234" bIns="46616" numCol="1" anchor="t" anchorCtr="0" compatLnSpc="1">
                <a:prstTxWarp prst="textNoShape">
                  <a:avLst/>
                </a:prstTxWarp>
              </a:bodyPr>
              <a:lstStyle/>
              <a:p>
                <a:pPr defTabSz="950973">
                  <a:defRPr/>
                </a:pPr>
                <a:endParaRPr lang="en-US" sz="1836" kern="0" dirty="0">
                  <a:solidFill>
                    <a:srgbClr val="FFFFFF"/>
                  </a:solidFill>
                  <a:latin typeface="Segoe UI"/>
                </a:endParaRPr>
              </a:p>
            </p:txBody>
          </p:sp>
          <p:sp>
            <p:nvSpPr>
              <p:cNvPr id="68" name="Freeform 67"/>
              <p:cNvSpPr/>
              <p:nvPr/>
            </p:nvSpPr>
            <p:spPr bwMode="auto">
              <a:xfrm>
                <a:off x="10600423" y="4901967"/>
                <a:ext cx="773288" cy="485189"/>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FFFFFF"/>
              </a:solidFill>
              <a:ln w="9525" cap="flat" cmpd="sng" algn="ctr">
                <a:solidFill>
                  <a:srgbClr val="2E75B6"/>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a:lnSpc>
                    <a:spcPct val="90000"/>
                  </a:lnSpc>
                  <a:defRPr/>
                </a:pPr>
                <a:endParaRPr lang="en-IN" sz="2000" b="1" kern="0" dirty="0">
                  <a:solidFill>
                    <a:srgbClr val="0072C6"/>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798019592"/>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038"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Rectangle 1"/>
          <p:cNvSpPr/>
          <p:nvPr/>
        </p:nvSpPr>
        <p:spPr bwMode="auto">
          <a:xfrm>
            <a:off x="882" y="-1"/>
            <a:ext cx="5301647"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6119" dirty="0">
              <a:solidFill>
                <a:schemeClr val="bg1"/>
              </a:solidFill>
              <a:latin typeface="+mj-lt"/>
              <a:ea typeface="Segoe UI" pitchFamily="34" charset="0"/>
              <a:cs typeface="Segoe UI" pitchFamily="34" charset="0"/>
            </a:endParaRPr>
          </a:p>
        </p:txBody>
      </p:sp>
      <p:sp>
        <p:nvSpPr>
          <p:cNvPr id="3" name="TextBox 2"/>
          <p:cNvSpPr txBox="1"/>
          <p:nvPr/>
        </p:nvSpPr>
        <p:spPr>
          <a:xfrm>
            <a:off x="147013" y="779746"/>
            <a:ext cx="5009383" cy="4400928"/>
          </a:xfrm>
          <a:prstGeom prst="rect">
            <a:avLst/>
          </a:prstGeom>
          <a:noFill/>
        </p:spPr>
        <p:txBody>
          <a:bodyPr wrap="square" lIns="186521" tIns="149217" rIns="186521" bIns="149217" rtlCol="0">
            <a:spAutoFit/>
          </a:bodyPr>
          <a:lstStyle/>
          <a:p>
            <a:pPr>
              <a:lnSpc>
                <a:spcPct val="90000"/>
              </a:lnSpc>
              <a:spcAft>
                <a:spcPts val="612"/>
              </a:spcAft>
            </a:pPr>
            <a:r>
              <a:rPr lang="en-US" sz="4896" dirty="0">
                <a:solidFill>
                  <a:schemeClr val="bg1"/>
                </a:solidFill>
                <a:latin typeface="+mj-lt"/>
                <a:ea typeface="Segoe UI" pitchFamily="34" charset="0"/>
                <a:cs typeface="Segoe UI" pitchFamily="34" charset="0"/>
              </a:rPr>
              <a:t>Azure </a:t>
            </a:r>
            <a:br>
              <a:rPr lang="en-US" sz="4896" dirty="0">
                <a:solidFill>
                  <a:schemeClr val="bg1"/>
                </a:solidFill>
                <a:latin typeface="+mj-lt"/>
                <a:ea typeface="Segoe UI" pitchFamily="34" charset="0"/>
                <a:cs typeface="Segoe UI" pitchFamily="34" charset="0"/>
              </a:rPr>
            </a:br>
            <a:r>
              <a:rPr lang="en-US" sz="4896" dirty="0">
                <a:solidFill>
                  <a:schemeClr val="bg1"/>
                </a:solidFill>
                <a:latin typeface="+mj-lt"/>
                <a:ea typeface="Segoe UI" pitchFamily="34" charset="0"/>
                <a:cs typeface="Segoe UI" pitchFamily="34" charset="0"/>
              </a:rPr>
              <a:t>Data Lake Analytics Service</a:t>
            </a:r>
          </a:p>
          <a:p>
            <a:pPr>
              <a:lnSpc>
                <a:spcPct val="90000"/>
              </a:lnSpc>
              <a:spcBef>
                <a:spcPts val="1224"/>
              </a:spcBef>
              <a:spcAft>
                <a:spcPts val="612"/>
              </a:spcAft>
            </a:pPr>
            <a:r>
              <a:rPr lang="en-US" sz="3672" dirty="0">
                <a:solidFill>
                  <a:schemeClr val="tx1">
                    <a:lumMod val="50000"/>
                  </a:schemeClr>
                </a:solidFill>
                <a:latin typeface="+mj-lt"/>
                <a:ea typeface="Segoe UI" pitchFamily="34" charset="0"/>
                <a:cs typeface="Segoe UI" pitchFamily="34" charset="0"/>
              </a:rPr>
              <a:t>A new distributed analytics service</a:t>
            </a:r>
          </a:p>
          <a:p>
            <a:pPr>
              <a:lnSpc>
                <a:spcPct val="90000"/>
              </a:lnSpc>
              <a:spcAft>
                <a:spcPts val="612"/>
              </a:spcAft>
            </a:pPr>
            <a:endParaRPr lang="en-US" sz="4488" dirty="0">
              <a:solidFill>
                <a:schemeClr val="accent2"/>
              </a:solidFill>
              <a:latin typeface="+mj-lt"/>
              <a:ea typeface="Segoe UI" pitchFamily="34" charset="0"/>
              <a:cs typeface="Segoe UI" pitchFamily="34" charset="0"/>
            </a:endParaRPr>
          </a:p>
        </p:txBody>
      </p:sp>
      <p:sp>
        <p:nvSpPr>
          <p:cNvPr id="4" name="TextBox 3"/>
          <p:cNvSpPr txBox="1"/>
          <p:nvPr/>
        </p:nvSpPr>
        <p:spPr>
          <a:xfrm>
            <a:off x="5464721" y="892054"/>
            <a:ext cx="6548498" cy="5230903"/>
          </a:xfrm>
          <a:prstGeom prst="rect">
            <a:avLst/>
          </a:prstGeom>
          <a:noFill/>
        </p:spPr>
        <p:txBody>
          <a:bodyPr wrap="square" lIns="186521" tIns="149217" rIns="186521" bIns="149217" rtlCol="0">
            <a:spAutoFit/>
          </a:bodyPr>
          <a:lstStyle/>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Built on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pache YARN</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latin typeface="Segoe UI Black" panose="020B0A02040204020203" pitchFamily="34" charset="0"/>
                <a:ea typeface="Segoe UI Black" panose="020B0A02040204020203" pitchFamily="34" charset="0"/>
                <a:cs typeface="Segoe UI Black" panose="020B0A02040204020203" pitchFamily="34" charset="0"/>
              </a:rPr>
              <a:t>Scales dynamically </a:t>
            </a:r>
            <a:r>
              <a:rPr lang="en-US" sz="2448" dirty="0">
                <a:solidFill>
                  <a:schemeClr val="tx2"/>
                </a:solidFill>
              </a:rPr>
              <a:t>with the turn of a dial</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latin typeface="Segoe UI Black" panose="020B0A02040204020203" pitchFamily="34" charset="0"/>
                <a:ea typeface="Segoe UI Black" panose="020B0A02040204020203" pitchFamily="34" charset="0"/>
                <a:cs typeface="Segoe UI Black" panose="020B0A02040204020203" pitchFamily="34" charset="0"/>
              </a:rPr>
              <a:t>Pay by the query</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Supports</a:t>
            </a:r>
            <a:r>
              <a:rPr lang="en-US" sz="2448"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zure AD</a:t>
            </a:r>
            <a:r>
              <a:rPr lang="en-US" sz="2448"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448" dirty="0">
                <a:solidFill>
                  <a:schemeClr val="tx2"/>
                </a:solidFill>
              </a:rPr>
              <a:t>for access control, roles, and integration with on-</a:t>
            </a:r>
            <a:r>
              <a:rPr lang="en-US" sz="2448" dirty="0" err="1">
                <a:solidFill>
                  <a:schemeClr val="tx2"/>
                </a:solidFill>
              </a:rPr>
              <a:t>prem</a:t>
            </a:r>
            <a:r>
              <a:rPr lang="en-US" sz="2448" dirty="0">
                <a:solidFill>
                  <a:schemeClr val="tx2"/>
                </a:solidFill>
              </a:rPr>
              <a:t> identity systems</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Built with </a:t>
            </a:r>
            <a:r>
              <a:rPr lang="en-US" sz="2448" dirty="0">
                <a:latin typeface="Segoe UI Black" panose="020B0A02040204020203" pitchFamily="34" charset="0"/>
                <a:ea typeface="Segoe UI Black" panose="020B0A02040204020203" pitchFamily="34" charset="0"/>
                <a:cs typeface="Segoe UI Black" panose="020B0A02040204020203" pitchFamily="34" charset="0"/>
              </a:rPr>
              <a:t>U-SQL</a:t>
            </a:r>
            <a:r>
              <a:rPr lang="en-US" sz="2448" dirty="0">
                <a:solidFill>
                  <a:schemeClr val="tx2"/>
                </a:solidFill>
              </a:rPr>
              <a:t> to unify the benefits of SQL with the power of C# </a:t>
            </a:r>
          </a:p>
          <a:p>
            <a:pPr marL="342900" indent="-342900">
              <a:lnSpc>
                <a:spcPct val="90000"/>
              </a:lnSpc>
              <a:spcBef>
                <a:spcPts val="1224"/>
              </a:spcBef>
              <a:spcAft>
                <a:spcPts val="1224"/>
              </a:spcAft>
              <a:buClr>
                <a:schemeClr val="tx1"/>
              </a:buClr>
              <a:buSzPct val="100000"/>
              <a:buFont typeface="Wingdings" panose="05000000000000000000" pitchFamily="2" charset="2"/>
              <a:buChar char="§"/>
            </a:pPr>
            <a:r>
              <a:rPr lang="en-US" sz="2448" dirty="0">
                <a:solidFill>
                  <a:schemeClr val="tx2"/>
                </a:solidFill>
              </a:rPr>
              <a:t>Processes data </a:t>
            </a:r>
            <a:r>
              <a:rPr lang="en-US" sz="2448" dirty="0">
                <a:latin typeface="Segoe UI Black" panose="020B0A02040204020203" pitchFamily="34" charset="0"/>
                <a:ea typeface="Segoe UI Black" panose="020B0A02040204020203" pitchFamily="34" charset="0"/>
                <a:cs typeface="Segoe UI Black" panose="020B0A02040204020203" pitchFamily="34" charset="0"/>
              </a:rPr>
              <a:t>across Azure</a:t>
            </a: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24</a:t>
            </a:fld>
            <a:endParaRPr lang="en-US" dirty="0"/>
          </a:p>
        </p:txBody>
      </p:sp>
      <p:grpSp>
        <p:nvGrpSpPr>
          <p:cNvPr id="9" name="Group 8"/>
          <p:cNvGrpSpPr/>
          <p:nvPr/>
        </p:nvGrpSpPr>
        <p:grpSpPr>
          <a:xfrm>
            <a:off x="2863757" y="4704229"/>
            <a:ext cx="1977626" cy="1911337"/>
            <a:chOff x="7780975" y="2716621"/>
            <a:chExt cx="2249434" cy="2174034"/>
          </a:xfrm>
        </p:grpSpPr>
        <p:sp>
          <p:nvSpPr>
            <p:cNvPr id="10" name="Rounded Rectangle 9"/>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grpSp>
    </p:spTree>
    <p:extLst>
      <p:ext uri="{BB962C8B-B14F-4D97-AF65-F5344CB8AC3E}">
        <p14:creationId xmlns:p14="http://schemas.microsoft.com/office/powerpoint/2010/main" val="251107415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2054"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Rectangle 1"/>
          <p:cNvSpPr/>
          <p:nvPr/>
        </p:nvSpPr>
        <p:spPr bwMode="auto">
          <a:xfrm>
            <a:off x="882" y="-1"/>
            <a:ext cx="5301647"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6119" dirty="0">
              <a:solidFill>
                <a:schemeClr val="bg1"/>
              </a:solidFill>
              <a:latin typeface="+mj-lt"/>
              <a:ea typeface="Segoe UI" pitchFamily="34" charset="0"/>
              <a:cs typeface="Segoe UI" pitchFamily="34" charset="0"/>
            </a:endParaRPr>
          </a:p>
        </p:txBody>
      </p:sp>
      <p:sp>
        <p:nvSpPr>
          <p:cNvPr id="3" name="TextBox 2"/>
          <p:cNvSpPr txBox="1"/>
          <p:nvPr/>
        </p:nvSpPr>
        <p:spPr>
          <a:xfrm>
            <a:off x="147013" y="779746"/>
            <a:ext cx="5009383" cy="1677944"/>
          </a:xfrm>
          <a:prstGeom prst="rect">
            <a:avLst/>
          </a:prstGeom>
          <a:noFill/>
        </p:spPr>
        <p:txBody>
          <a:bodyPr wrap="square" lIns="186521" tIns="149217" rIns="186521" bIns="149217" rtlCol="0">
            <a:spAutoFit/>
          </a:bodyPr>
          <a:lstStyle/>
          <a:p>
            <a:pPr>
              <a:lnSpc>
                <a:spcPct val="90000"/>
              </a:lnSpc>
              <a:spcAft>
                <a:spcPts val="612"/>
              </a:spcAft>
            </a:pPr>
            <a:r>
              <a:rPr lang="en-US" sz="4896" dirty="0">
                <a:solidFill>
                  <a:schemeClr val="bg1"/>
                </a:solidFill>
                <a:latin typeface="+mj-lt"/>
                <a:ea typeface="Segoe UI" pitchFamily="34" charset="0"/>
                <a:cs typeface="Segoe UI" pitchFamily="34" charset="0"/>
              </a:rPr>
              <a:t>U-</a:t>
            </a:r>
            <a:r>
              <a:rPr lang="en-US" sz="4896" dirty="0" err="1">
                <a:solidFill>
                  <a:schemeClr val="bg1"/>
                </a:solidFill>
                <a:latin typeface="+mj-lt"/>
                <a:ea typeface="Segoe UI" pitchFamily="34" charset="0"/>
                <a:cs typeface="Segoe UI" pitchFamily="34" charset="0"/>
              </a:rPr>
              <a:t>Sql</a:t>
            </a:r>
            <a:r>
              <a:rPr lang="en-US" sz="4896" dirty="0">
                <a:solidFill>
                  <a:schemeClr val="bg1"/>
                </a:solidFill>
                <a:latin typeface="+mj-lt"/>
                <a:ea typeface="Segoe UI" pitchFamily="34" charset="0"/>
                <a:cs typeface="Segoe UI" pitchFamily="34" charset="0"/>
              </a:rPr>
              <a:t> example</a:t>
            </a:r>
          </a:p>
          <a:p>
            <a:pPr>
              <a:lnSpc>
                <a:spcPct val="90000"/>
              </a:lnSpc>
              <a:spcAft>
                <a:spcPts val="612"/>
              </a:spcAft>
            </a:pPr>
            <a:endParaRPr lang="en-US" sz="4488" dirty="0">
              <a:solidFill>
                <a:schemeClr val="accent2"/>
              </a:solidFill>
              <a:latin typeface="+mj-lt"/>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25</a:t>
            </a:fld>
            <a:endParaRPr lang="en-US" dirty="0"/>
          </a:p>
        </p:txBody>
      </p:sp>
      <p:grpSp>
        <p:nvGrpSpPr>
          <p:cNvPr id="9" name="Group 8"/>
          <p:cNvGrpSpPr/>
          <p:nvPr/>
        </p:nvGrpSpPr>
        <p:grpSpPr>
          <a:xfrm>
            <a:off x="857536" y="2551836"/>
            <a:ext cx="1977626" cy="1911337"/>
            <a:chOff x="7780975" y="2716621"/>
            <a:chExt cx="2249434" cy="2174034"/>
          </a:xfrm>
        </p:grpSpPr>
        <p:sp>
          <p:nvSpPr>
            <p:cNvPr id="10" name="Rounded Rectangle 9"/>
            <p:cNvSpPr/>
            <p:nvPr/>
          </p:nvSpPr>
          <p:spPr bwMode="auto">
            <a:xfrm rot="1534581">
              <a:off x="7912418" y="2810683"/>
              <a:ext cx="110605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2" name="Rounded Rectangle 11"/>
            <p:cNvSpPr/>
            <p:nvPr/>
          </p:nvSpPr>
          <p:spPr bwMode="auto">
            <a:xfrm rot="1534581">
              <a:off x="7954205" y="2845813"/>
              <a:ext cx="2051040" cy="1915651"/>
            </a:xfrm>
            <a:prstGeom prst="roundRect">
              <a:avLst>
                <a:gd name="adj" fmla="val 8841"/>
              </a:avLst>
            </a:prstGeom>
            <a:solidFill>
              <a:srgbClr val="7A7A7A"/>
            </a:solidFill>
            <a:ln w="152400">
              <a:solidFill>
                <a:srgbClr val="7A7A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3" name="Rounded Rectangle 12"/>
            <p:cNvSpPr/>
            <p:nvPr/>
          </p:nvSpPr>
          <p:spPr bwMode="auto">
            <a:xfrm>
              <a:off x="7780975" y="2716621"/>
              <a:ext cx="2249434" cy="2174034"/>
            </a:xfrm>
            <a:prstGeom prst="roundRect">
              <a:avLst>
                <a:gd name="adj" fmla="val 8841"/>
              </a:avLst>
            </a:prstGeom>
            <a:solidFill>
              <a:schemeClr val="bg1"/>
            </a:solidFill>
            <a:ln w="152400">
              <a:solidFill>
                <a:srgbClr val="A0A1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40" b="1" dirty="0">
                <a:solidFill>
                  <a:schemeClr val="bg1"/>
                </a:solidFill>
                <a:latin typeface="+mj-lt"/>
                <a:ea typeface="Segoe UI" pitchFamily="34" charset="0"/>
                <a:cs typeface="Segoe UI" pitchFamily="34" charset="0"/>
              </a:endParaRPr>
            </a:p>
          </p:txBody>
        </p:sp>
        <p:sp>
          <p:nvSpPr>
            <p:cNvPr id="15" name="Freeform 14"/>
            <p:cNvSpPr/>
            <p:nvPr/>
          </p:nvSpPr>
          <p:spPr bwMode="auto">
            <a:xfrm>
              <a:off x="8500707" y="3098244"/>
              <a:ext cx="877077" cy="1455575"/>
            </a:xfrm>
            <a:custGeom>
              <a:avLst/>
              <a:gdLst>
                <a:gd name="connsiteX0" fmla="*/ 559836 w 877077"/>
                <a:gd name="connsiteY0" fmla="*/ 37322 h 1418253"/>
                <a:gd name="connsiteX1" fmla="*/ 0 w 877077"/>
                <a:gd name="connsiteY1" fmla="*/ 895739 h 1418253"/>
                <a:gd name="connsiteX2" fmla="*/ 363894 w 877077"/>
                <a:gd name="connsiteY2" fmla="*/ 914400 h 1418253"/>
                <a:gd name="connsiteX3" fmla="*/ 242596 w 877077"/>
                <a:gd name="connsiteY3" fmla="*/ 1418253 h 1418253"/>
                <a:gd name="connsiteX4" fmla="*/ 877077 w 877077"/>
                <a:gd name="connsiteY4" fmla="*/ 541176 h 1418253"/>
                <a:gd name="connsiteX5" fmla="*/ 466530 w 877077"/>
                <a:gd name="connsiteY5" fmla="*/ 541176 h 1418253"/>
                <a:gd name="connsiteX6" fmla="*/ 615820 w 877077"/>
                <a:gd name="connsiteY6" fmla="*/ 0 h 1418253"/>
                <a:gd name="connsiteX0" fmla="*/ 559836 w 877077"/>
                <a:gd name="connsiteY0" fmla="*/ 74644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 name="connsiteX0" fmla="*/ 597158 w 877077"/>
                <a:gd name="connsiteY0" fmla="*/ 9330 h 1455575"/>
                <a:gd name="connsiteX1" fmla="*/ 0 w 877077"/>
                <a:gd name="connsiteY1" fmla="*/ 933061 h 1455575"/>
                <a:gd name="connsiteX2" fmla="*/ 363894 w 877077"/>
                <a:gd name="connsiteY2" fmla="*/ 951722 h 1455575"/>
                <a:gd name="connsiteX3" fmla="*/ 242596 w 877077"/>
                <a:gd name="connsiteY3" fmla="*/ 1455575 h 1455575"/>
                <a:gd name="connsiteX4" fmla="*/ 877077 w 877077"/>
                <a:gd name="connsiteY4" fmla="*/ 578498 h 1455575"/>
                <a:gd name="connsiteX5" fmla="*/ 466530 w 877077"/>
                <a:gd name="connsiteY5" fmla="*/ 578498 h 1455575"/>
                <a:gd name="connsiteX6" fmla="*/ 615820 w 877077"/>
                <a:gd name="connsiteY6" fmla="*/ 0 h 145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77" h="1455575">
                  <a:moveTo>
                    <a:pt x="597158" y="9330"/>
                  </a:moveTo>
                  <a:lnTo>
                    <a:pt x="0" y="933061"/>
                  </a:lnTo>
                  <a:lnTo>
                    <a:pt x="363894" y="951722"/>
                  </a:lnTo>
                  <a:lnTo>
                    <a:pt x="242596" y="1455575"/>
                  </a:lnTo>
                  <a:lnTo>
                    <a:pt x="877077" y="578498"/>
                  </a:lnTo>
                  <a:lnTo>
                    <a:pt x="466530" y="578498"/>
                  </a:lnTo>
                  <a:lnTo>
                    <a:pt x="615820" y="0"/>
                  </a:lnTo>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grpSp>
      <p:pic>
        <p:nvPicPr>
          <p:cNvPr id="6" name="Picture 5"/>
          <p:cNvPicPr>
            <a:picLocks noChangeAspect="1"/>
          </p:cNvPicPr>
          <p:nvPr/>
        </p:nvPicPr>
        <p:blipFill>
          <a:blip r:embed="rId7"/>
          <a:stretch>
            <a:fillRect/>
          </a:stretch>
        </p:blipFill>
        <p:spPr>
          <a:xfrm>
            <a:off x="4711699" y="525746"/>
            <a:ext cx="7010401" cy="5934636"/>
          </a:xfrm>
          <a:prstGeom prst="rect">
            <a:avLst/>
          </a:prstGeom>
        </p:spPr>
      </p:pic>
    </p:spTree>
    <p:extLst>
      <p:ext uri="{BB962C8B-B14F-4D97-AF65-F5344CB8AC3E}">
        <p14:creationId xmlns:p14="http://schemas.microsoft.com/office/powerpoint/2010/main" val="23858436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33102" y="1783085"/>
            <a:ext cx="12172637" cy="5003491"/>
          </a:xfrm>
          <a:prstGeom prst="roundRect">
            <a:avLst/>
          </a:prstGeom>
          <a:solidFill>
            <a:srgbClr val="00A4EF"/>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p>
        </p:txBody>
      </p:sp>
      <p:cxnSp>
        <p:nvCxnSpPr>
          <p:cNvPr id="106" name="Straight Connector 105"/>
          <p:cNvCxnSpPr/>
          <p:nvPr/>
        </p:nvCxnSpPr>
        <p:spPr>
          <a:xfrm>
            <a:off x="3396102" y="1896596"/>
            <a:ext cx="0" cy="4927692"/>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6780" y="4399640"/>
            <a:ext cx="3119323" cy="1226646"/>
          </a:xfrm>
          <a:prstGeom prst="rect">
            <a:avLst/>
          </a:prstGeom>
          <a:noFill/>
        </p:spPr>
        <p:txBody>
          <a:bodyPr wrap="none" lIns="186441" tIns="149152" rIns="186441" bIns="149152" rtlCol="0">
            <a:spAutoFit/>
          </a:bodyPr>
          <a:lstStyle/>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Blobs and Tables</a:t>
            </a:r>
          </a:p>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Hadoop (HDInsight)</a:t>
            </a:r>
          </a:p>
          <a:p>
            <a:pPr defTabSz="951156" fontAlgn="base">
              <a:spcBef>
                <a:spcPct val="0"/>
              </a:spcBef>
              <a:spcAft>
                <a:spcPts val="612"/>
              </a:spcAft>
            </a:pPr>
            <a:r>
              <a:rPr lang="en-US" sz="1632"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Relational DB (Azure SQL DB)</a:t>
            </a:r>
          </a:p>
        </p:txBody>
      </p:sp>
      <p:sp>
        <p:nvSpPr>
          <p:cNvPr id="108" name="Rectangle 107"/>
          <p:cNvSpPr/>
          <p:nvPr/>
        </p:nvSpPr>
        <p:spPr>
          <a:xfrm>
            <a:off x="878777" y="1891702"/>
            <a:ext cx="1461619" cy="730620"/>
          </a:xfrm>
          <a:prstGeom prst="rect">
            <a:avLst/>
          </a:prstGeom>
        </p:spPr>
        <p:txBody>
          <a:bodyPr wrap="square" lIns="186441" tIns="139830" rIns="186441" bIns="139830">
            <a:spAutoFit/>
          </a:bodyPr>
          <a:lstStyle/>
          <a:p>
            <a:pPr algn="ctr" defTabSz="932059"/>
            <a:r>
              <a:rPr lang="en-US" sz="2856" dirty="0">
                <a:gradFill>
                  <a:gsLst>
                    <a:gs pos="0">
                      <a:schemeClr val="bg1"/>
                    </a:gs>
                    <a:gs pos="100000">
                      <a:schemeClr val="bg1"/>
                    </a:gs>
                  </a:gsLst>
                  <a:lin ang="5400000" scaled="1"/>
                </a:gradFill>
                <a:latin typeface="Segoe UI Light"/>
                <a:ea typeface="Calibri" panose="020F0502020204030204" pitchFamily="34" charset="0"/>
              </a:rPr>
              <a:t>Data</a:t>
            </a:r>
          </a:p>
        </p:txBody>
      </p:sp>
      <p:grpSp>
        <p:nvGrpSpPr>
          <p:cNvPr id="109" name="Group 108"/>
          <p:cNvGrpSpPr/>
          <p:nvPr/>
        </p:nvGrpSpPr>
        <p:grpSpPr>
          <a:xfrm>
            <a:off x="10779562" y="3050911"/>
            <a:ext cx="475426" cy="816730"/>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7" name="Rectangle 11"/>
              <p:cNvSpPr>
                <a:spLocks noChangeArrowheads="1"/>
              </p:cNvSpPr>
              <p:nvPr/>
            </p:nvSpPr>
            <p:spPr bwMode="auto">
              <a:xfrm>
                <a:off x="9430600" y="3692189"/>
                <a:ext cx="374359" cy="629993"/>
              </a:xfrm>
              <a:prstGeom prst="rect">
                <a:avLst/>
              </a:prstGeom>
              <a:solidFill>
                <a:schemeClr val="tx1"/>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23" name="Group 122"/>
          <p:cNvGrpSpPr/>
          <p:nvPr/>
        </p:nvGrpSpPr>
        <p:grpSpPr>
          <a:xfrm>
            <a:off x="10160929" y="4171354"/>
            <a:ext cx="1743226" cy="890728"/>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tx1"/>
              </a:solidFill>
              <a:ln>
                <a:solidFill>
                  <a:schemeClr val="tx2">
                    <a:lumMod val="50000"/>
                  </a:schemeClr>
                </a:solid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50701">
                  <a:defRPr/>
                </a:pPr>
                <a:endParaRPr lang="en-US" sz="1873" dirty="0">
                  <a:solidFill>
                    <a:srgbClr val="00B0F0"/>
                  </a:solidFill>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50701">
                  <a:defRPr/>
                </a:pPr>
                <a:endParaRPr lang="en-US" sz="1873" dirty="0">
                  <a:solidFill>
                    <a:srgbClr val="00B0F0"/>
                  </a:solidFill>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50701">
                  <a:defRPr/>
                </a:pPr>
                <a:endParaRPr lang="en-US" sz="1873" dirty="0">
                  <a:solidFill>
                    <a:srgbClr val="00B0F0"/>
                  </a:solidFill>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50701">
                  <a:defRPr/>
                </a:pPr>
                <a:endParaRPr lang="en-US" sz="1873" dirty="0">
                  <a:solidFill>
                    <a:srgbClr val="00B0F0"/>
                  </a:solidFill>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50701">
                  <a:defRPr/>
                </a:pPr>
                <a:endParaRPr lang="en-US" sz="1873" dirty="0">
                  <a:solidFill>
                    <a:srgbClr val="00B0F0"/>
                  </a:solidFill>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50701">
                  <a:defRPr/>
                </a:pPr>
                <a:endParaRPr lang="en-US" sz="1873" dirty="0">
                  <a:solidFill>
                    <a:srgbClr val="00B0F0"/>
                  </a:solidFill>
                </a:endParaRPr>
              </a:p>
            </p:txBody>
          </p:sp>
        </p:grpSp>
      </p:grpSp>
      <p:grpSp>
        <p:nvGrpSpPr>
          <p:cNvPr id="140" name="Group 139"/>
          <p:cNvGrpSpPr/>
          <p:nvPr/>
        </p:nvGrpSpPr>
        <p:grpSpPr>
          <a:xfrm>
            <a:off x="10490650" y="5382952"/>
            <a:ext cx="1131152" cy="734917"/>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chemeClr val="tx1"/>
              </a:solidFill>
              <a:ln>
                <a:noFill/>
              </a:ln>
            </p:spPr>
            <p:txBody>
              <a:bodyPr vert="horz" wrap="square" lIns="93221" tIns="46610" rIns="93221" bIns="46610" numCol="1" anchor="t" anchorCtr="0" compatLnSpc="1">
                <a:prstTxWarp prst="textNoShape">
                  <a:avLst/>
                </a:prstTxWarp>
              </a:bodyPr>
              <a:lstStyle/>
              <a:p>
                <a:pPr defTabSz="951156"/>
                <a:endParaRPr lang="en-US" sz="1836" dirty="0">
                  <a:solidFill>
                    <a:srgbClr val="00B0F0"/>
                  </a:solidFill>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50701">
                  <a:defRPr/>
                </a:pPr>
                <a:endParaRPr lang="en-US" sz="1873" dirty="0">
                  <a:solidFill>
                    <a:srgbClr val="00B0F0"/>
                  </a:solidFill>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50701">
                  <a:defRPr/>
                </a:pPr>
                <a:endParaRPr lang="en-US" sz="1873" dirty="0">
                  <a:solidFill>
                    <a:srgbClr val="00B0F0"/>
                  </a:solidFill>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50701">
                  <a:defRPr/>
                </a:pPr>
                <a:endParaRPr lang="en-US" sz="1873" dirty="0">
                  <a:solidFill>
                    <a:srgbClr val="00B0F0"/>
                  </a:solidFill>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50701">
                  <a:defRPr/>
                </a:pPr>
                <a:endParaRPr lang="en-US" sz="1873" dirty="0">
                  <a:solidFill>
                    <a:srgbClr val="00B0F0"/>
                  </a:solidFill>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50701">
                  <a:defRPr/>
                </a:pPr>
                <a:endParaRPr lang="en-US" sz="1873" dirty="0">
                  <a:solidFill>
                    <a:srgbClr val="00B0F0"/>
                  </a:solidFill>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50701">
                  <a:defRPr/>
                </a:pPr>
                <a:endParaRPr lang="en-US" sz="1873" dirty="0">
                  <a:solidFill>
                    <a:srgbClr val="00B0F0"/>
                  </a:solidFill>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50701">
                  <a:defRPr/>
                </a:pPr>
                <a:endParaRPr lang="en-US" sz="1873" dirty="0">
                  <a:solidFill>
                    <a:srgbClr val="00B0F0"/>
                  </a:solidFill>
                </a:endParaRPr>
              </a:p>
            </p:txBody>
          </p:sp>
        </p:grpSp>
      </p:grpSp>
      <p:sp>
        <p:nvSpPr>
          <p:cNvPr id="156" name="Rectangle 155"/>
          <p:cNvSpPr/>
          <p:nvPr/>
        </p:nvSpPr>
        <p:spPr>
          <a:xfrm>
            <a:off x="10308142" y="1895364"/>
            <a:ext cx="1406520" cy="730620"/>
          </a:xfrm>
          <a:prstGeom prst="rect">
            <a:avLst/>
          </a:prstGeom>
        </p:spPr>
        <p:txBody>
          <a:bodyPr wrap="none" lIns="186441" tIns="139830" rIns="186441" bIns="139830">
            <a:spAutoFit/>
          </a:bodyPr>
          <a:lstStyle/>
          <a:p>
            <a:pPr defTabSz="932059"/>
            <a:r>
              <a:rPr lang="en-US" sz="2856" dirty="0">
                <a:gradFill>
                  <a:gsLst>
                    <a:gs pos="0">
                      <a:schemeClr val="bg1"/>
                    </a:gs>
                    <a:gs pos="100000">
                      <a:schemeClr val="bg1"/>
                    </a:gs>
                  </a:gsLst>
                  <a:lin ang="5400000" scaled="1"/>
                </a:gradFill>
                <a:latin typeface="Segoe UI Light"/>
                <a:ea typeface="Calibri" panose="020F0502020204030204" pitchFamily="34" charset="0"/>
              </a:rPr>
              <a:t>Clients</a:t>
            </a:r>
          </a:p>
        </p:txBody>
      </p:sp>
      <p:sp>
        <p:nvSpPr>
          <p:cNvPr id="157" name="Rectangle 156"/>
          <p:cNvSpPr>
            <a:spLocks noChangeAspect="1"/>
          </p:cNvSpPr>
          <p:nvPr/>
        </p:nvSpPr>
        <p:spPr bwMode="auto">
          <a:xfrm>
            <a:off x="7339408" y="4175773"/>
            <a:ext cx="1897486" cy="403365"/>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4" dirty="0">
                <a:gradFill>
                  <a:gsLst>
                    <a:gs pos="0">
                      <a:schemeClr val="bg1"/>
                    </a:gs>
                    <a:gs pos="100000">
                      <a:schemeClr val="bg1"/>
                    </a:gs>
                  </a:gsLst>
                  <a:lin ang="5400000" scaled="1"/>
                </a:gradFill>
              </a:rPr>
              <a:t>Model is now a web service that is callable</a:t>
            </a:r>
          </a:p>
        </p:txBody>
      </p:sp>
      <p:pic>
        <p:nvPicPr>
          <p:cNvPr id="158" name="Picture 157"/>
          <p:cNvPicPr>
            <a:picLocks noChangeAspect="1"/>
          </p:cNvPicPr>
          <p:nvPr/>
        </p:nvPicPr>
        <p:blipFill>
          <a:blip r:embed="rId3"/>
          <a:stretch>
            <a:fillRect/>
          </a:stretch>
        </p:blipFill>
        <p:spPr>
          <a:xfrm>
            <a:off x="663425" y="2827268"/>
            <a:ext cx="2082884" cy="1186620"/>
          </a:xfrm>
          <a:prstGeom prst="rect">
            <a:avLst/>
          </a:prstGeom>
        </p:spPr>
      </p:pic>
      <p:cxnSp>
        <p:nvCxnSpPr>
          <p:cNvPr id="161" name="Straight Connector 160"/>
          <p:cNvCxnSpPr/>
          <p:nvPr/>
        </p:nvCxnSpPr>
        <p:spPr>
          <a:xfrm>
            <a:off x="9671386" y="1896596"/>
            <a:ext cx="0" cy="4927692"/>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236507" y="5526701"/>
            <a:ext cx="2112262" cy="1245110"/>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1" dirty="0">
                  <a:gradFill>
                    <a:gsLst>
                      <a:gs pos="0">
                        <a:schemeClr val="bg1"/>
                      </a:gs>
                      <a:gs pos="100000">
                        <a:schemeClr val="bg1"/>
                      </a:gs>
                    </a:gsLst>
                    <a:lin ang="5400000" scaled="1"/>
                  </a:gradFill>
                </a:rPr>
                <a:t>Monetize the API through our marketplace</a:t>
              </a:r>
            </a:p>
          </p:txBody>
        </p:sp>
        <p:pic>
          <p:nvPicPr>
            <p:cNvPr id="164" name="Picture 163"/>
            <p:cNvPicPr>
              <a:picLocks noChangeAspect="1"/>
            </p:cNvPicPr>
            <p:nvPr/>
          </p:nvPicPr>
          <p:blipFill>
            <a:blip r:embed="rId4"/>
            <a:stretch>
              <a:fillRect/>
            </a:stretch>
          </p:blipFill>
          <p:spPr>
            <a:xfrm>
              <a:off x="6922450" y="5380459"/>
              <a:ext cx="1210733" cy="722475"/>
            </a:xfrm>
            <a:prstGeom prst="rect">
              <a:avLst/>
            </a:prstGeom>
          </p:spPr>
        </p:pic>
        <p:cxnSp>
          <p:nvCxnSpPr>
            <p:cNvPr id="165" name="Straight Connector 164"/>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66" name="Group 165"/>
          <p:cNvGrpSpPr/>
          <p:nvPr/>
        </p:nvGrpSpPr>
        <p:grpSpPr>
          <a:xfrm>
            <a:off x="7627616" y="2487665"/>
            <a:ext cx="1321068" cy="1608528"/>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dirty="0">
                <a:solidFill>
                  <a:srgbClr val="FFFFFF"/>
                </a:solidFill>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5"/>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6441" tIns="139830" rIns="186441" bIns="139830">
                <a:spAutoFit/>
              </a:bodyPr>
              <a:lstStyle/>
              <a:p>
                <a:pPr defTabSz="932059"/>
                <a:r>
                  <a:rPr lang="en-US" sz="2244" dirty="0">
                    <a:solidFill>
                      <a:srgbClr val="0070C0"/>
                    </a:solidFill>
                    <a:latin typeface="Segoe UI Light"/>
                    <a:ea typeface="Calibri" panose="020F0502020204030204" pitchFamily="34" charset="0"/>
                  </a:rPr>
                  <a:t>API</a:t>
                </a:r>
              </a:p>
            </p:txBody>
          </p:sp>
        </p:grpSp>
      </p:grpSp>
      <p:cxnSp>
        <p:nvCxnSpPr>
          <p:cNvPr id="172" name="Straight Connector 171"/>
          <p:cNvCxnSpPr/>
          <p:nvPr/>
        </p:nvCxnSpPr>
        <p:spPr>
          <a:xfrm>
            <a:off x="7236507" y="4184251"/>
            <a:ext cx="2103289"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5" name="Group 4"/>
          <p:cNvGrpSpPr>
            <a:grpSpLocks noChangeAspect="1"/>
          </p:cNvGrpSpPr>
          <p:nvPr/>
        </p:nvGrpSpPr>
        <p:grpSpPr bwMode="auto">
          <a:xfrm>
            <a:off x="4212201" y="2742111"/>
            <a:ext cx="2856810" cy="1836286"/>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dirty="0">
                <a:solidFill>
                  <a:srgbClr val="00B0F0"/>
                </a:solidFill>
              </a:endParaRPr>
            </a:p>
          </p:txBody>
        </p:sp>
      </p:grpSp>
      <p:sp>
        <p:nvSpPr>
          <p:cNvPr id="198" name="Rectangle 197"/>
          <p:cNvSpPr>
            <a:spLocks noChangeAspect="1"/>
          </p:cNvSpPr>
          <p:nvPr/>
        </p:nvSpPr>
        <p:spPr bwMode="auto">
          <a:xfrm>
            <a:off x="3855397" y="4712171"/>
            <a:ext cx="2856168" cy="832621"/>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224" dirty="0">
                <a:gradFill>
                  <a:gsLst>
                    <a:gs pos="0">
                      <a:schemeClr val="bg1"/>
                    </a:gs>
                    <a:gs pos="100000">
                      <a:schemeClr val="bg1"/>
                    </a:gs>
                  </a:gsLst>
                  <a:lin ang="5400000" scaled="1"/>
                </a:gradFill>
              </a:rPr>
              <a:t>Integrated development environment for Machine Learning </a:t>
            </a:r>
          </a:p>
        </p:txBody>
      </p:sp>
      <p:sp>
        <p:nvSpPr>
          <p:cNvPr id="199" name="Rectangle 198"/>
          <p:cNvSpPr>
            <a:spLocks noChangeAspect="1"/>
          </p:cNvSpPr>
          <p:nvPr/>
        </p:nvSpPr>
        <p:spPr bwMode="auto">
          <a:xfrm>
            <a:off x="4133948" y="3662740"/>
            <a:ext cx="1378495" cy="241985"/>
          </a:xfrm>
          <a:prstGeom prst="rect">
            <a:avLst/>
          </a:prstGeom>
          <a:noFill/>
          <a:ln w="38100" cap="flat" cmpd="sng" algn="ctr">
            <a:noFill/>
            <a:prstDash val="solid"/>
            <a:headEnd type="none" w="med" len="med"/>
            <a:tailEnd type="none" w="med" len="med"/>
          </a:ln>
          <a:effectLst/>
        </p:spPr>
        <p:txBody>
          <a:bodyPr vert="horz" wrap="square" lIns="95072" tIns="93221" rIns="95072" bIns="93221" numCol="1" rtlCol="0" anchor="t" anchorCtr="0" compatLnSpc="1">
            <a:prstTxWarp prst="textNoShape">
              <a:avLst/>
            </a:prstTxWarp>
          </a:bodyPr>
          <a:lstStyle/>
          <a:p>
            <a:pPr algn="ctr" defTabSz="951156" fontAlgn="base">
              <a:lnSpc>
                <a:spcPct val="90000"/>
              </a:lnSpc>
              <a:spcBef>
                <a:spcPct val="0"/>
              </a:spcBef>
              <a:spcAft>
                <a:spcPts val="612"/>
              </a:spcAft>
            </a:pPr>
            <a:r>
              <a:rPr lang="en-US" sz="1040" dirty="0">
                <a:solidFill>
                  <a:srgbClr val="FFFFFF"/>
                </a:solidFill>
              </a:rPr>
              <a:t>ML STUDIO</a:t>
            </a:r>
          </a:p>
        </p:txBody>
      </p:sp>
      <p:cxnSp>
        <p:nvCxnSpPr>
          <p:cNvPr id="200" name="Straight Connector 199"/>
          <p:cNvCxnSpPr/>
          <p:nvPr/>
        </p:nvCxnSpPr>
        <p:spPr>
          <a:xfrm>
            <a:off x="3867487" y="4704491"/>
            <a:ext cx="28440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a:off x="2931922" y="3632181"/>
            <a:ext cx="1202027"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459337" y="3615368"/>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9167943" y="3613240"/>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9167943" y="5930899"/>
            <a:ext cx="1002371"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297124" y="4761238"/>
            <a:ext cx="1" cy="611492"/>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itle 1"/>
          <p:cNvSpPr>
            <a:spLocks noGrp="1"/>
          </p:cNvSpPr>
          <p:nvPr>
            <p:ph type="title"/>
          </p:nvPr>
        </p:nvSpPr>
        <p:spPr/>
        <p:txBody>
          <a:bodyPr/>
          <a:lstStyle/>
          <a:p>
            <a:r>
              <a:rPr lang="en-GB" dirty="0"/>
              <a:t>Azure Machine Learning</a:t>
            </a:r>
          </a:p>
        </p:txBody>
      </p:sp>
    </p:spTree>
    <p:extLst>
      <p:ext uri="{BB962C8B-B14F-4D97-AF65-F5344CB8AC3E}">
        <p14:creationId xmlns:p14="http://schemas.microsoft.com/office/powerpoint/2010/main" val="24569907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21129"/>
          <a:stretch/>
        </p:blipFill>
        <p:spPr>
          <a:xfrm>
            <a:off x="502569" y="1507066"/>
            <a:ext cx="11433704" cy="5097991"/>
          </a:xfrm>
          <a:prstGeom prst="rect">
            <a:avLst/>
          </a:prstGeom>
        </p:spPr>
      </p:pic>
      <p:sp>
        <p:nvSpPr>
          <p:cNvPr id="4"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GB" dirty="0"/>
              <a:t>Cortana Analytics Process</a:t>
            </a:r>
            <a:br>
              <a:rPr lang="en-GB" dirty="0"/>
            </a:br>
            <a:endParaRPr lang="en-GB" sz="3599" dirty="0"/>
          </a:p>
        </p:txBody>
      </p:sp>
    </p:spTree>
    <p:extLst>
      <p:ext uri="{BB962C8B-B14F-4D97-AF65-F5344CB8AC3E}">
        <p14:creationId xmlns:p14="http://schemas.microsoft.com/office/powerpoint/2010/main" val="393015342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3077"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2" name="Rectangle 1"/>
          <p:cNvSpPr/>
          <p:nvPr/>
        </p:nvSpPr>
        <p:spPr bwMode="auto">
          <a:xfrm>
            <a:off x="882" y="-1"/>
            <a:ext cx="5301647"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pPr>
            <a:endParaRPr lang="en-US" sz="6119" dirty="0">
              <a:solidFill>
                <a:schemeClr val="bg1"/>
              </a:solidFill>
              <a:latin typeface="+mj-lt"/>
              <a:ea typeface="Segoe UI" pitchFamily="34" charset="0"/>
              <a:cs typeface="Segoe UI" pitchFamily="34" charset="0"/>
            </a:endParaRPr>
          </a:p>
        </p:txBody>
      </p:sp>
      <p:sp>
        <p:nvSpPr>
          <p:cNvPr id="3" name="TextBox 2"/>
          <p:cNvSpPr txBox="1"/>
          <p:nvPr/>
        </p:nvSpPr>
        <p:spPr>
          <a:xfrm>
            <a:off x="147013" y="779746"/>
            <a:ext cx="5009383" cy="1677944"/>
          </a:xfrm>
          <a:prstGeom prst="rect">
            <a:avLst/>
          </a:prstGeom>
          <a:noFill/>
        </p:spPr>
        <p:txBody>
          <a:bodyPr wrap="square" lIns="186521" tIns="149217" rIns="186521" bIns="149217" rtlCol="0">
            <a:spAutoFit/>
          </a:bodyPr>
          <a:lstStyle/>
          <a:p>
            <a:pPr>
              <a:lnSpc>
                <a:spcPct val="90000"/>
              </a:lnSpc>
              <a:spcAft>
                <a:spcPts val="612"/>
              </a:spcAft>
            </a:pPr>
            <a:r>
              <a:rPr lang="en-US" sz="4896" dirty="0">
                <a:solidFill>
                  <a:schemeClr val="bg1"/>
                </a:solidFill>
                <a:latin typeface="+mj-lt"/>
                <a:ea typeface="Segoe UI" pitchFamily="34" charset="0"/>
                <a:cs typeface="Segoe UI" pitchFamily="34" charset="0"/>
              </a:rPr>
              <a:t>Demo</a:t>
            </a:r>
          </a:p>
          <a:p>
            <a:pPr>
              <a:lnSpc>
                <a:spcPct val="90000"/>
              </a:lnSpc>
              <a:spcAft>
                <a:spcPts val="612"/>
              </a:spcAft>
            </a:pPr>
            <a:endParaRPr lang="en-US" sz="4488" dirty="0">
              <a:solidFill>
                <a:schemeClr val="accent2"/>
              </a:solidFill>
              <a:latin typeface="+mj-lt"/>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a:defRPr/>
            </a:pPr>
            <a:fld id="{F8A0AC42-AA1D-4944-8D96-660DE70C7E1B}" type="slidenum">
              <a:rPr lang="en-US" smtClean="0"/>
              <a:pPr>
                <a:defRPr/>
              </a:pPr>
              <a:t>28</a:t>
            </a:fld>
            <a:endParaRPr lang="en-US" dirty="0"/>
          </a:p>
        </p:txBody>
      </p:sp>
      <p:grpSp>
        <p:nvGrpSpPr>
          <p:cNvPr id="14" name="Group 13"/>
          <p:cNvGrpSpPr/>
          <p:nvPr/>
        </p:nvGrpSpPr>
        <p:grpSpPr>
          <a:xfrm>
            <a:off x="881233" y="2100218"/>
            <a:ext cx="10872192" cy="3680440"/>
            <a:chOff x="889715" y="2247298"/>
            <a:chExt cx="10872192" cy="3680440"/>
          </a:xfrm>
        </p:grpSpPr>
        <p:pic>
          <p:nvPicPr>
            <p:cNvPr id="16" name="Picture 15"/>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153902" y="2247298"/>
              <a:ext cx="1084258" cy="1033096"/>
            </a:xfrm>
            <a:prstGeom prst="rect">
              <a:avLst/>
            </a:prstGeom>
          </p:spPr>
        </p:pic>
        <p:sp>
          <p:nvSpPr>
            <p:cNvPr id="17" name="TextBox 104"/>
            <p:cNvSpPr txBox="1"/>
            <p:nvPr/>
          </p:nvSpPr>
          <p:spPr>
            <a:xfrm>
              <a:off x="5913365" y="3184688"/>
              <a:ext cx="2650603" cy="338554"/>
            </a:xfrm>
            <a:prstGeom prst="rect">
              <a:avLst/>
            </a:prstGeom>
            <a:noFill/>
          </p:spPr>
          <p:txBody>
            <a:bodyPr wrap="square" rtlCol="0">
              <a:spAutoFit/>
            </a:bodyPr>
            <a:lstStyle/>
            <a:p>
              <a:pPr>
                <a:spcAft>
                  <a:spcPts val="0"/>
                </a:spcAft>
              </a:pPr>
              <a:r>
                <a:rPr lang="en-GB" sz="1600" kern="1200" dirty="0">
                  <a:solidFill>
                    <a:srgbClr val="767171"/>
                  </a:solidFill>
                  <a:effectLst>
                    <a:outerShdw blurRad="38100" dist="38100" dir="2700000" algn="tl">
                      <a:srgbClr val="000000">
                        <a:alpha val="43000"/>
                      </a:srgbClr>
                    </a:outerShdw>
                  </a:effectLst>
                  <a:latin typeface="Segoe UI" panose="020B0502040204020203" pitchFamily="34" charset="0"/>
                  <a:ea typeface="Times New Roman" panose="02020603050405020304" pitchFamily="18" charset="0"/>
                </a:rPr>
                <a:t>Streaming Analytics</a:t>
              </a:r>
              <a:endParaRPr lang="en-GB" sz="1600" dirty="0">
                <a:effectLst/>
                <a:latin typeface="Times New Roman" panose="02020603050405020304" pitchFamily="18" charset="0"/>
                <a:ea typeface="Times New Roman" panose="02020603050405020304" pitchFamily="18" charset="0"/>
              </a:endParaRPr>
            </a:p>
          </p:txBody>
        </p:sp>
        <p:grpSp>
          <p:nvGrpSpPr>
            <p:cNvPr id="18" name="Group 17"/>
            <p:cNvGrpSpPr/>
            <p:nvPr/>
          </p:nvGrpSpPr>
          <p:grpSpPr>
            <a:xfrm>
              <a:off x="3159322" y="2380997"/>
              <a:ext cx="2650603" cy="1122598"/>
              <a:chOff x="3287678" y="2331967"/>
              <a:chExt cx="2650603" cy="1122598"/>
            </a:xfrm>
          </p:grpSpPr>
          <p:pic>
            <p:nvPicPr>
              <p:cNvPr id="40" name="Picture 39"/>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441737" y="2331967"/>
                <a:ext cx="829517" cy="790498"/>
              </a:xfrm>
              <a:prstGeom prst="rect">
                <a:avLst/>
              </a:prstGeom>
            </p:spPr>
          </p:pic>
          <p:sp>
            <p:nvSpPr>
              <p:cNvPr id="41" name="TextBox 96"/>
              <p:cNvSpPr txBox="1"/>
              <p:nvPr/>
            </p:nvSpPr>
            <p:spPr>
              <a:xfrm>
                <a:off x="3287678" y="3106863"/>
                <a:ext cx="2650603" cy="347702"/>
              </a:xfrm>
              <a:prstGeom prst="rect">
                <a:avLst/>
              </a:prstGeom>
              <a:noFill/>
            </p:spPr>
            <p:txBody>
              <a:bodyPr wrap="square" rtlCol="0">
                <a:spAutoFit/>
              </a:bodyPr>
              <a:lstStyle/>
              <a:p>
                <a:pPr>
                  <a:spcAft>
                    <a:spcPts val="0"/>
                  </a:spcAft>
                </a:pPr>
                <a:r>
                  <a:rPr lang="en-GB" sz="1600" kern="1200" dirty="0">
                    <a:solidFill>
                      <a:srgbClr val="767171"/>
                    </a:solidFill>
                    <a:effectLst>
                      <a:outerShdw blurRad="38100" dist="38100" dir="2700000" algn="tl">
                        <a:srgbClr val="000000">
                          <a:alpha val="43000"/>
                        </a:srgbClr>
                      </a:outerShdw>
                    </a:effectLst>
                    <a:latin typeface="Segoe UI" panose="020B0502040204020203" pitchFamily="34" charset="0"/>
                    <a:ea typeface="Times New Roman" panose="02020603050405020304" pitchFamily="18" charset="0"/>
                  </a:rPr>
                  <a:t>Event Hub</a:t>
                </a:r>
                <a:endParaRPr lang="en-GB" sz="1600" dirty="0">
                  <a:effectLst/>
                  <a:latin typeface="Times New Roman" panose="02020603050405020304" pitchFamily="18" charset="0"/>
                  <a:ea typeface="Times New Roman" panose="02020603050405020304" pitchFamily="18" charset="0"/>
                </a:endParaRPr>
              </a:p>
            </p:txBody>
          </p:sp>
        </p:grpSp>
        <p:pic>
          <p:nvPicPr>
            <p:cNvPr id="19" name="Picture 18"/>
            <p:cNvPicPr>
              <a:picLocks noChangeAspect="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5455" y="2380997"/>
              <a:ext cx="893680" cy="851839"/>
            </a:xfrm>
            <a:prstGeom prst="rect">
              <a:avLst/>
            </a:prstGeom>
          </p:spPr>
        </p:pic>
        <p:sp>
          <p:nvSpPr>
            <p:cNvPr id="20" name="TextBox 104"/>
            <p:cNvSpPr txBox="1"/>
            <p:nvPr/>
          </p:nvSpPr>
          <p:spPr>
            <a:xfrm>
              <a:off x="889715" y="3011641"/>
              <a:ext cx="2650604" cy="276999"/>
            </a:xfrm>
            <a:prstGeom prst="rect">
              <a:avLst/>
            </a:prstGeom>
            <a:noFill/>
          </p:spPr>
          <p:txBody>
            <a:bodyPr wrap="square" rtlCol="0">
              <a:spAutoFit/>
            </a:bodyPr>
            <a:lstStyle/>
            <a:p>
              <a:pPr>
                <a:spcAft>
                  <a:spcPts val="0"/>
                </a:spcAft>
              </a:pPr>
              <a:endParaRPr lang="en-GB" sz="1200" dirty="0">
                <a:effectLst/>
                <a:latin typeface="Times New Roman" panose="02020603050405020304" pitchFamily="18" charset="0"/>
                <a:ea typeface="Times New Roman" panose="02020603050405020304" pitchFamily="18" charset="0"/>
              </a:endParaRPr>
            </a:p>
          </p:txBody>
        </p:sp>
        <p:grpSp>
          <p:nvGrpSpPr>
            <p:cNvPr id="21" name="Group 20"/>
            <p:cNvGrpSpPr/>
            <p:nvPr/>
          </p:nvGrpSpPr>
          <p:grpSpPr>
            <a:xfrm>
              <a:off x="7533068" y="2479818"/>
              <a:ext cx="2650558" cy="382940"/>
              <a:chOff x="-47570" y="137424"/>
              <a:chExt cx="2164043" cy="327998"/>
            </a:xfrm>
          </p:grpSpPr>
          <p:sp>
            <p:nvSpPr>
              <p:cNvPr id="38" name="TextBox 104"/>
              <p:cNvSpPr txBox="1"/>
              <p:nvPr/>
            </p:nvSpPr>
            <p:spPr>
              <a:xfrm>
                <a:off x="-47570" y="137424"/>
                <a:ext cx="2164043" cy="237256"/>
              </a:xfrm>
              <a:prstGeom prst="rect">
                <a:avLst/>
              </a:prstGeom>
              <a:noFill/>
            </p:spPr>
            <p:txBody>
              <a:bodyPr wrap="square" rtlCol="0">
                <a:spAutoFit/>
              </a:bodyPr>
              <a:lstStyle/>
              <a:p>
                <a:pPr>
                  <a:spcAft>
                    <a:spcPts val="0"/>
                  </a:spcAft>
                </a:pPr>
                <a:endParaRPr lang="en-GB" sz="1200" dirty="0">
                  <a:effectLst/>
                  <a:latin typeface="Times New Roman" panose="02020603050405020304" pitchFamily="18" charset="0"/>
                  <a:ea typeface="Times New Roman" panose="02020603050405020304" pitchFamily="18" charset="0"/>
                </a:endParaRPr>
              </a:p>
            </p:txBody>
          </p:sp>
          <p:cxnSp>
            <p:nvCxnSpPr>
              <p:cNvPr id="39" name="Straight Arrow Connector 38"/>
              <p:cNvCxnSpPr/>
              <p:nvPr/>
            </p:nvCxnSpPr>
            <p:spPr>
              <a:xfrm>
                <a:off x="84569" y="465129"/>
                <a:ext cx="869315" cy="293"/>
              </a:xfrm>
              <a:prstGeom prst="straightConnector1">
                <a:avLst/>
              </a:prstGeom>
              <a:ln w="28575">
                <a:solidFill>
                  <a:schemeClr val="bg2">
                    <a:lumMod val="50000"/>
                  </a:schemeClr>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pic>
          <p:nvPicPr>
            <p:cNvPr id="22" name="Picture 21"/>
            <p:cNvPicPr>
              <a:picLocks noChangeAspect="1"/>
            </p:cNvPicPr>
            <p:nvPr/>
          </p:nvPicPr>
          <p:blipFill>
            <a:blip r:embed="rId10">
              <a:duotone>
                <a:schemeClr val="accent5">
                  <a:shade val="45000"/>
                  <a:satMod val="135000"/>
                </a:schemeClr>
                <a:prstClr val="white"/>
              </a:duotone>
            </a:blip>
            <a:stretch>
              <a:fillRect/>
            </a:stretch>
          </p:blipFill>
          <p:spPr>
            <a:xfrm>
              <a:off x="9039317" y="2307652"/>
              <a:ext cx="1036864" cy="1076634"/>
            </a:xfrm>
            <a:prstGeom prst="rect">
              <a:avLst/>
            </a:prstGeom>
          </p:spPr>
        </p:pic>
        <p:pic>
          <p:nvPicPr>
            <p:cNvPr id="23" name="Picture 22"/>
            <p:cNvPicPr>
              <a:picLocks noChangeAspect="1"/>
            </p:cNvPicPr>
            <p:nvPr/>
          </p:nvPicPr>
          <p:blipFill>
            <a:blip r:embed="rId11">
              <a:duotone>
                <a:schemeClr val="accent5">
                  <a:shade val="45000"/>
                  <a:satMod val="135000"/>
                </a:schemeClr>
                <a:prstClr val="white"/>
              </a:duotone>
            </a:blip>
            <a:stretch>
              <a:fillRect/>
            </a:stretch>
          </p:blipFill>
          <p:spPr>
            <a:xfrm>
              <a:off x="6276185" y="4658781"/>
              <a:ext cx="1150370" cy="1268957"/>
            </a:xfrm>
            <a:prstGeom prst="rect">
              <a:avLst/>
            </a:prstGeom>
          </p:spPr>
        </p:pic>
        <p:sp>
          <p:nvSpPr>
            <p:cNvPr id="24" name="TextBox 96"/>
            <p:cNvSpPr txBox="1"/>
            <p:nvPr/>
          </p:nvSpPr>
          <p:spPr>
            <a:xfrm>
              <a:off x="1152091" y="3222267"/>
              <a:ext cx="681423" cy="347702"/>
            </a:xfrm>
            <a:prstGeom prst="rect">
              <a:avLst/>
            </a:prstGeom>
            <a:noFill/>
          </p:spPr>
          <p:txBody>
            <a:bodyPr wrap="square" rtlCol="0">
              <a:spAutoFit/>
            </a:bodyPr>
            <a:lstStyle/>
            <a:p>
              <a:pPr>
                <a:spcAft>
                  <a:spcPts val="0"/>
                </a:spcAft>
              </a:pPr>
              <a:r>
                <a:rPr lang="en-GB" sz="1600" kern="1200" dirty="0">
                  <a:solidFill>
                    <a:srgbClr val="767171"/>
                  </a:solidFill>
                  <a:effectLst>
                    <a:outerShdw blurRad="38100" dist="38100" dir="2700000" algn="tl">
                      <a:srgbClr val="000000">
                        <a:alpha val="43000"/>
                      </a:srgbClr>
                    </a:outerShdw>
                  </a:effectLst>
                  <a:latin typeface="Segoe UI" panose="020B0502040204020203" pitchFamily="34" charset="0"/>
                  <a:ea typeface="Times New Roman" panose="02020603050405020304" pitchFamily="18" charset="0"/>
                </a:rPr>
                <a:t>Data</a:t>
              </a:r>
              <a:endParaRPr lang="en-GB" sz="1600" dirty="0">
                <a:effectLst/>
                <a:latin typeface="Times New Roman" panose="02020603050405020304" pitchFamily="18" charset="0"/>
                <a:ea typeface="Times New Roman" panose="02020603050405020304" pitchFamily="18" charset="0"/>
              </a:endParaRPr>
            </a:p>
          </p:txBody>
        </p:sp>
        <p:grpSp>
          <p:nvGrpSpPr>
            <p:cNvPr id="25" name="Group 24"/>
            <p:cNvGrpSpPr/>
            <p:nvPr/>
          </p:nvGrpSpPr>
          <p:grpSpPr>
            <a:xfrm>
              <a:off x="4447351" y="2485249"/>
              <a:ext cx="2650558" cy="382940"/>
              <a:chOff x="-47570" y="137424"/>
              <a:chExt cx="2164043" cy="327998"/>
            </a:xfrm>
          </p:grpSpPr>
          <p:sp>
            <p:nvSpPr>
              <p:cNvPr id="36" name="TextBox 104"/>
              <p:cNvSpPr txBox="1"/>
              <p:nvPr/>
            </p:nvSpPr>
            <p:spPr>
              <a:xfrm>
                <a:off x="-47570" y="137424"/>
                <a:ext cx="2164043" cy="237256"/>
              </a:xfrm>
              <a:prstGeom prst="rect">
                <a:avLst/>
              </a:prstGeom>
              <a:noFill/>
            </p:spPr>
            <p:txBody>
              <a:bodyPr wrap="square" rtlCol="0">
                <a:spAutoFit/>
              </a:bodyPr>
              <a:lstStyle/>
              <a:p>
                <a:pPr>
                  <a:spcAft>
                    <a:spcPts val="0"/>
                  </a:spcAft>
                </a:pPr>
                <a:endParaRPr lang="en-GB" sz="1200" dirty="0">
                  <a:effectLst/>
                  <a:latin typeface="Times New Roman" panose="02020603050405020304" pitchFamily="18" charset="0"/>
                  <a:ea typeface="Times New Roman" panose="02020603050405020304" pitchFamily="18" charset="0"/>
                </a:endParaRPr>
              </a:p>
            </p:txBody>
          </p:sp>
          <p:cxnSp>
            <p:nvCxnSpPr>
              <p:cNvPr id="37" name="Straight Arrow Connector 36"/>
              <p:cNvCxnSpPr/>
              <p:nvPr/>
            </p:nvCxnSpPr>
            <p:spPr>
              <a:xfrm>
                <a:off x="84569" y="465129"/>
                <a:ext cx="869315" cy="293"/>
              </a:xfrm>
              <a:prstGeom prst="straightConnector1">
                <a:avLst/>
              </a:prstGeom>
              <a:ln w="28575">
                <a:solidFill>
                  <a:schemeClr val="bg2">
                    <a:lumMod val="50000"/>
                  </a:schemeClr>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1944560" y="2454658"/>
              <a:ext cx="2650558" cy="382940"/>
              <a:chOff x="-47570" y="137424"/>
              <a:chExt cx="2164043" cy="327998"/>
            </a:xfrm>
          </p:grpSpPr>
          <p:sp>
            <p:nvSpPr>
              <p:cNvPr id="34" name="TextBox 104"/>
              <p:cNvSpPr txBox="1"/>
              <p:nvPr/>
            </p:nvSpPr>
            <p:spPr>
              <a:xfrm>
                <a:off x="-47570" y="137424"/>
                <a:ext cx="2164043" cy="237256"/>
              </a:xfrm>
              <a:prstGeom prst="rect">
                <a:avLst/>
              </a:prstGeom>
              <a:noFill/>
            </p:spPr>
            <p:txBody>
              <a:bodyPr wrap="square" rtlCol="0">
                <a:spAutoFit/>
              </a:bodyPr>
              <a:lstStyle/>
              <a:p>
                <a:pPr>
                  <a:spcAft>
                    <a:spcPts val="0"/>
                  </a:spcAft>
                </a:pPr>
                <a:endParaRPr lang="en-GB" sz="1200" dirty="0">
                  <a:effectLst/>
                  <a:latin typeface="Times New Roman" panose="02020603050405020304" pitchFamily="18" charset="0"/>
                  <a:ea typeface="Times New Roman" panose="02020603050405020304" pitchFamily="18" charset="0"/>
                </a:endParaRPr>
              </a:p>
            </p:txBody>
          </p:sp>
          <p:cxnSp>
            <p:nvCxnSpPr>
              <p:cNvPr id="35" name="Straight Arrow Connector 34"/>
              <p:cNvCxnSpPr/>
              <p:nvPr/>
            </p:nvCxnSpPr>
            <p:spPr>
              <a:xfrm>
                <a:off x="84569" y="465129"/>
                <a:ext cx="869315" cy="293"/>
              </a:xfrm>
              <a:prstGeom prst="straightConnector1">
                <a:avLst/>
              </a:prstGeom>
              <a:ln w="28575">
                <a:solidFill>
                  <a:schemeClr val="bg2">
                    <a:lumMod val="50000"/>
                  </a:schemeClr>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rot="5400000">
              <a:off x="5774441" y="4391738"/>
              <a:ext cx="2153293" cy="382940"/>
              <a:chOff x="-47570" y="137424"/>
              <a:chExt cx="2164043" cy="327998"/>
            </a:xfrm>
          </p:grpSpPr>
          <p:sp>
            <p:nvSpPr>
              <p:cNvPr id="32" name="TextBox 104"/>
              <p:cNvSpPr txBox="1"/>
              <p:nvPr/>
            </p:nvSpPr>
            <p:spPr>
              <a:xfrm>
                <a:off x="-47570" y="137424"/>
                <a:ext cx="2164043" cy="237256"/>
              </a:xfrm>
              <a:prstGeom prst="rect">
                <a:avLst/>
              </a:prstGeom>
              <a:noFill/>
            </p:spPr>
            <p:txBody>
              <a:bodyPr wrap="square" rtlCol="0">
                <a:spAutoFit/>
              </a:bodyPr>
              <a:lstStyle/>
              <a:p>
                <a:pPr>
                  <a:spcAft>
                    <a:spcPts val="0"/>
                  </a:spcAft>
                </a:pPr>
                <a:endParaRPr lang="en-GB" sz="1200" dirty="0">
                  <a:effectLst/>
                  <a:latin typeface="Times New Roman" panose="02020603050405020304" pitchFamily="18" charset="0"/>
                  <a:ea typeface="Times New Roman" panose="02020603050405020304" pitchFamily="18" charset="0"/>
                </a:endParaRPr>
              </a:p>
            </p:txBody>
          </p:sp>
          <p:cxnSp>
            <p:nvCxnSpPr>
              <p:cNvPr id="33" name="Straight Arrow Connector 32"/>
              <p:cNvCxnSpPr/>
              <p:nvPr/>
            </p:nvCxnSpPr>
            <p:spPr>
              <a:xfrm>
                <a:off x="84569" y="465129"/>
                <a:ext cx="869315" cy="293"/>
              </a:xfrm>
              <a:prstGeom prst="straightConnector1">
                <a:avLst/>
              </a:prstGeom>
              <a:ln w="28575">
                <a:solidFill>
                  <a:schemeClr val="bg2">
                    <a:lumMod val="50000"/>
                  </a:schemeClr>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rot="16200000">
              <a:off x="5669731" y="3343584"/>
              <a:ext cx="2153293" cy="382940"/>
              <a:chOff x="-47570" y="137424"/>
              <a:chExt cx="2164043" cy="327998"/>
            </a:xfrm>
          </p:grpSpPr>
          <p:sp>
            <p:nvSpPr>
              <p:cNvPr id="30" name="TextBox 104"/>
              <p:cNvSpPr txBox="1"/>
              <p:nvPr/>
            </p:nvSpPr>
            <p:spPr>
              <a:xfrm>
                <a:off x="-47570" y="137424"/>
                <a:ext cx="2164043" cy="237256"/>
              </a:xfrm>
              <a:prstGeom prst="rect">
                <a:avLst/>
              </a:prstGeom>
              <a:noFill/>
            </p:spPr>
            <p:txBody>
              <a:bodyPr wrap="square" rtlCol="0">
                <a:spAutoFit/>
              </a:bodyPr>
              <a:lstStyle/>
              <a:p>
                <a:pPr>
                  <a:spcAft>
                    <a:spcPts val="0"/>
                  </a:spcAft>
                </a:pPr>
                <a:endParaRPr lang="en-GB" sz="1200" dirty="0">
                  <a:effectLst/>
                  <a:latin typeface="Times New Roman" panose="02020603050405020304" pitchFamily="18" charset="0"/>
                  <a:ea typeface="Times New Roman" panose="02020603050405020304" pitchFamily="18" charset="0"/>
                </a:endParaRPr>
              </a:p>
            </p:txBody>
          </p:sp>
          <p:cxnSp>
            <p:nvCxnSpPr>
              <p:cNvPr id="31" name="Straight Arrow Connector 30"/>
              <p:cNvCxnSpPr/>
              <p:nvPr/>
            </p:nvCxnSpPr>
            <p:spPr>
              <a:xfrm>
                <a:off x="84569" y="465129"/>
                <a:ext cx="869315" cy="293"/>
              </a:xfrm>
              <a:prstGeom prst="straightConnector1">
                <a:avLst/>
              </a:prstGeom>
              <a:ln w="28575">
                <a:solidFill>
                  <a:schemeClr val="bg2">
                    <a:lumMod val="50000"/>
                  </a:schemeClr>
                </a:solidFill>
                <a:tailEnd type="triangl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9" name="TextBox 96"/>
            <p:cNvSpPr txBox="1"/>
            <p:nvPr/>
          </p:nvSpPr>
          <p:spPr>
            <a:xfrm>
              <a:off x="9111304" y="3130854"/>
              <a:ext cx="2650603" cy="347702"/>
            </a:xfrm>
            <a:prstGeom prst="rect">
              <a:avLst/>
            </a:prstGeom>
            <a:noFill/>
          </p:spPr>
          <p:txBody>
            <a:bodyPr wrap="square" rtlCol="0">
              <a:spAutoFit/>
            </a:bodyPr>
            <a:lstStyle/>
            <a:p>
              <a:pPr>
                <a:spcAft>
                  <a:spcPts val="0"/>
                </a:spcAft>
              </a:pPr>
              <a:r>
                <a:rPr lang="en-GB" sz="1600" kern="1200" dirty="0" err="1">
                  <a:solidFill>
                    <a:srgbClr val="767171"/>
                  </a:solidFill>
                  <a:effectLst>
                    <a:outerShdw blurRad="38100" dist="38100" dir="2700000" algn="tl">
                      <a:srgbClr val="000000">
                        <a:alpha val="43000"/>
                      </a:srgbClr>
                    </a:outerShdw>
                  </a:effectLst>
                  <a:latin typeface="Segoe UI" panose="020B0502040204020203" pitchFamily="34" charset="0"/>
                  <a:ea typeface="Times New Roman" panose="02020603050405020304" pitchFamily="18" charset="0"/>
                </a:rPr>
                <a:t>PowerBi</a:t>
              </a:r>
              <a:endParaRPr lang="en-GB" sz="1600" dirty="0">
                <a:effectLst/>
                <a:latin typeface="Times New Roman" panose="02020603050405020304" pitchFamily="18" charset="0"/>
                <a:ea typeface="Times New Roman" panose="02020603050405020304" pitchFamily="18" charset="0"/>
              </a:endParaRPr>
            </a:p>
          </p:txBody>
        </p:sp>
      </p:grpSp>
    </p:spTree>
    <p:extLst>
      <p:ext uri="{BB962C8B-B14F-4D97-AF65-F5344CB8AC3E}">
        <p14:creationId xmlns:p14="http://schemas.microsoft.com/office/powerpoint/2010/main" val="385793081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5519457" y="1393359"/>
            <a:ext cx="7976562" cy="4315046"/>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1" name="Freeform 17"/>
          <p:cNvSpPr>
            <a:spLocks noEditPoints="1"/>
          </p:cNvSpPr>
          <p:nvPr/>
        </p:nvSpPr>
        <p:spPr bwMode="auto">
          <a:xfrm>
            <a:off x="6994569" y="3299283"/>
            <a:ext cx="418069" cy="506108"/>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8"/>
          <p:cNvSpPr>
            <a:spLocks noEditPoints="1"/>
          </p:cNvSpPr>
          <p:nvPr/>
        </p:nvSpPr>
        <p:spPr bwMode="auto">
          <a:xfrm>
            <a:off x="12639375" y="3238154"/>
            <a:ext cx="631988" cy="632052"/>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9"/>
          <p:cNvSpPr>
            <a:spLocks noEditPoints="1"/>
          </p:cNvSpPr>
          <p:nvPr/>
        </p:nvSpPr>
        <p:spPr bwMode="auto">
          <a:xfrm>
            <a:off x="10720061" y="3238154"/>
            <a:ext cx="631988" cy="629012"/>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20"/>
          <p:cNvSpPr>
            <a:spLocks noEditPoints="1"/>
          </p:cNvSpPr>
          <p:nvPr/>
        </p:nvSpPr>
        <p:spPr bwMode="auto">
          <a:xfrm>
            <a:off x="8767757" y="3318818"/>
            <a:ext cx="752434" cy="465355"/>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16" name="Group 15"/>
          <p:cNvGrpSpPr/>
          <p:nvPr/>
        </p:nvGrpSpPr>
        <p:grpSpPr>
          <a:xfrm>
            <a:off x="4742698" y="2370775"/>
            <a:ext cx="494622" cy="490839"/>
            <a:chOff x="347679" y="2370775"/>
            <a:chExt cx="494622" cy="490839"/>
          </a:xfrm>
        </p:grpSpPr>
        <p:sp>
          <p:nvSpPr>
            <p:cNvPr id="6" name="Freeform 5"/>
            <p:cNvSpPr>
              <a:spLocks noEditPoints="1"/>
            </p:cNvSpPr>
            <p:nvPr/>
          </p:nvSpPr>
          <p:spPr bwMode="auto">
            <a:xfrm>
              <a:off x="347679" y="2370775"/>
              <a:ext cx="494622" cy="490839"/>
            </a:xfrm>
            <a:custGeom>
              <a:avLst/>
              <a:gdLst>
                <a:gd name="T0" fmla="*/ 3104 w 3484"/>
                <a:gd name="T1" fmla="*/ 552 h 3460"/>
                <a:gd name="T2" fmla="*/ 2840 w 3484"/>
                <a:gd name="T3" fmla="*/ 0 h 3460"/>
                <a:gd name="T4" fmla="*/ 2540 w 3484"/>
                <a:gd name="T5" fmla="*/ 0 h 3460"/>
                <a:gd name="T6" fmla="*/ 2168 w 3484"/>
                <a:gd name="T7" fmla="*/ 368 h 3460"/>
                <a:gd name="T8" fmla="*/ 2076 w 3484"/>
                <a:gd name="T9" fmla="*/ 368 h 3460"/>
                <a:gd name="T10" fmla="*/ 1684 w 3484"/>
                <a:gd name="T11" fmla="*/ 0 h 3460"/>
                <a:gd name="T12" fmla="*/ 1408 w 3484"/>
                <a:gd name="T13" fmla="*/ 0 h 3460"/>
                <a:gd name="T14" fmla="*/ 1040 w 3484"/>
                <a:gd name="T15" fmla="*/ 368 h 3460"/>
                <a:gd name="T16" fmla="*/ 948 w 3484"/>
                <a:gd name="T17" fmla="*/ 368 h 3460"/>
                <a:gd name="T18" fmla="*/ 556 w 3484"/>
                <a:gd name="T19" fmla="*/ 0 h 3460"/>
                <a:gd name="T20" fmla="*/ 0 w 3484"/>
                <a:gd name="T21" fmla="*/ 552 h 3460"/>
                <a:gd name="T22" fmla="*/ 372 w 3484"/>
                <a:gd name="T23" fmla="*/ 920 h 3460"/>
                <a:gd name="T24" fmla="*/ 372 w 3484"/>
                <a:gd name="T25" fmla="*/ 1012 h 3460"/>
                <a:gd name="T26" fmla="*/ 0 w 3484"/>
                <a:gd name="T27" fmla="*/ 1404 h 3460"/>
                <a:gd name="T28" fmla="*/ 372 w 3484"/>
                <a:gd name="T29" fmla="*/ 1684 h 3460"/>
                <a:gd name="T30" fmla="*/ 372 w 3484"/>
                <a:gd name="T31" fmla="*/ 1776 h 3460"/>
                <a:gd name="T32" fmla="*/ 0 w 3484"/>
                <a:gd name="T33" fmla="*/ 2052 h 3460"/>
                <a:gd name="T34" fmla="*/ 372 w 3484"/>
                <a:gd name="T35" fmla="*/ 2444 h 3460"/>
                <a:gd name="T36" fmla="*/ 372 w 3484"/>
                <a:gd name="T37" fmla="*/ 2536 h 3460"/>
                <a:gd name="T38" fmla="*/ 0 w 3484"/>
                <a:gd name="T39" fmla="*/ 2904 h 3460"/>
                <a:gd name="T40" fmla="*/ 556 w 3484"/>
                <a:gd name="T41" fmla="*/ 3460 h 3460"/>
                <a:gd name="T42" fmla="*/ 948 w 3484"/>
                <a:gd name="T43" fmla="*/ 3112 h 3460"/>
                <a:gd name="T44" fmla="*/ 1040 w 3484"/>
                <a:gd name="T45" fmla="*/ 3112 h 3460"/>
                <a:gd name="T46" fmla="*/ 1408 w 3484"/>
                <a:gd name="T47" fmla="*/ 3460 h 3460"/>
                <a:gd name="T48" fmla="*/ 1684 w 3484"/>
                <a:gd name="T49" fmla="*/ 3460 h 3460"/>
                <a:gd name="T50" fmla="*/ 2076 w 3484"/>
                <a:gd name="T51" fmla="*/ 3112 h 3460"/>
                <a:gd name="T52" fmla="*/ 2168 w 3484"/>
                <a:gd name="T53" fmla="*/ 3112 h 3460"/>
                <a:gd name="T54" fmla="*/ 2540 w 3484"/>
                <a:gd name="T55" fmla="*/ 3460 h 3460"/>
                <a:gd name="T56" fmla="*/ 2840 w 3484"/>
                <a:gd name="T57" fmla="*/ 3460 h 3460"/>
                <a:gd name="T58" fmla="*/ 3106 w 3484"/>
                <a:gd name="T59" fmla="*/ 2904 h 3460"/>
                <a:gd name="T60" fmla="*/ 3116 w 3484"/>
                <a:gd name="T61" fmla="*/ 2812 h 3460"/>
                <a:gd name="T62" fmla="*/ 3484 w 3484"/>
                <a:gd name="T63" fmla="*/ 2444 h 3460"/>
                <a:gd name="T64" fmla="*/ 3484 w 3484"/>
                <a:gd name="T65" fmla="*/ 2144 h 3460"/>
                <a:gd name="T66" fmla="*/ 3116 w 3484"/>
                <a:gd name="T67" fmla="*/ 1954 h 3460"/>
                <a:gd name="T68" fmla="*/ 3484 w 3484"/>
                <a:gd name="T69" fmla="*/ 1684 h 3460"/>
                <a:gd name="T70" fmla="*/ 3116 w 3484"/>
                <a:gd name="T71" fmla="*/ 1404 h 3460"/>
                <a:gd name="T72" fmla="*/ 3116 w 3484"/>
                <a:gd name="T73" fmla="*/ 1312 h 3460"/>
                <a:gd name="T74" fmla="*/ 3484 w 3484"/>
                <a:gd name="T75" fmla="*/ 920 h 3460"/>
                <a:gd name="T76" fmla="*/ 3484 w 3484"/>
                <a:gd name="T77" fmla="*/ 644 h 3460"/>
                <a:gd name="T78" fmla="*/ 2871 w 3484"/>
                <a:gd name="T79" fmla="*/ 3020 h 3460"/>
                <a:gd name="T80" fmla="*/ 464 w 3484"/>
                <a:gd name="T81" fmla="*/ 1901 h 3460"/>
                <a:gd name="T82" fmla="*/ 614 w 3484"/>
                <a:gd name="T83" fmla="*/ 460 h 3460"/>
                <a:gd name="T84" fmla="*/ 3024 w 3484"/>
                <a:gd name="T85" fmla="*/ 1570 h 3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84" h="3460">
                  <a:moveTo>
                    <a:pt x="3484" y="644"/>
                  </a:moveTo>
                  <a:cubicBezTo>
                    <a:pt x="3484" y="552"/>
                    <a:pt x="3484" y="552"/>
                    <a:pt x="3484" y="552"/>
                  </a:cubicBezTo>
                  <a:cubicBezTo>
                    <a:pt x="3104" y="552"/>
                    <a:pt x="3104" y="552"/>
                    <a:pt x="3104" y="552"/>
                  </a:cubicBezTo>
                  <a:cubicBezTo>
                    <a:pt x="3083" y="460"/>
                    <a:pt x="3024" y="391"/>
                    <a:pt x="2932" y="371"/>
                  </a:cubicBezTo>
                  <a:cubicBezTo>
                    <a:pt x="2932" y="0"/>
                    <a:pt x="2932" y="0"/>
                    <a:pt x="2932" y="0"/>
                  </a:cubicBezTo>
                  <a:cubicBezTo>
                    <a:pt x="2840" y="0"/>
                    <a:pt x="2840" y="0"/>
                    <a:pt x="2840" y="0"/>
                  </a:cubicBezTo>
                  <a:cubicBezTo>
                    <a:pt x="2840" y="368"/>
                    <a:pt x="2840" y="368"/>
                    <a:pt x="2840" y="368"/>
                  </a:cubicBezTo>
                  <a:cubicBezTo>
                    <a:pt x="2540" y="368"/>
                    <a:pt x="2540" y="368"/>
                    <a:pt x="2540" y="368"/>
                  </a:cubicBezTo>
                  <a:cubicBezTo>
                    <a:pt x="2540" y="0"/>
                    <a:pt x="2540" y="0"/>
                    <a:pt x="2540" y="0"/>
                  </a:cubicBezTo>
                  <a:cubicBezTo>
                    <a:pt x="2448" y="0"/>
                    <a:pt x="2448" y="0"/>
                    <a:pt x="2448" y="0"/>
                  </a:cubicBezTo>
                  <a:cubicBezTo>
                    <a:pt x="2448" y="368"/>
                    <a:pt x="2448" y="368"/>
                    <a:pt x="2448" y="368"/>
                  </a:cubicBezTo>
                  <a:cubicBezTo>
                    <a:pt x="2168" y="368"/>
                    <a:pt x="2168" y="368"/>
                    <a:pt x="2168" y="368"/>
                  </a:cubicBezTo>
                  <a:cubicBezTo>
                    <a:pt x="2168" y="0"/>
                    <a:pt x="2168" y="0"/>
                    <a:pt x="2168" y="0"/>
                  </a:cubicBezTo>
                  <a:cubicBezTo>
                    <a:pt x="2076" y="0"/>
                    <a:pt x="2076" y="0"/>
                    <a:pt x="2076" y="0"/>
                  </a:cubicBezTo>
                  <a:cubicBezTo>
                    <a:pt x="2076" y="368"/>
                    <a:pt x="2076" y="368"/>
                    <a:pt x="2076" y="368"/>
                  </a:cubicBezTo>
                  <a:cubicBezTo>
                    <a:pt x="1776" y="368"/>
                    <a:pt x="1776" y="368"/>
                    <a:pt x="1776" y="368"/>
                  </a:cubicBezTo>
                  <a:cubicBezTo>
                    <a:pt x="1776" y="0"/>
                    <a:pt x="1776" y="0"/>
                    <a:pt x="1776" y="0"/>
                  </a:cubicBezTo>
                  <a:cubicBezTo>
                    <a:pt x="1684" y="0"/>
                    <a:pt x="1684" y="0"/>
                    <a:pt x="1684" y="0"/>
                  </a:cubicBezTo>
                  <a:cubicBezTo>
                    <a:pt x="1684" y="368"/>
                    <a:pt x="1684" y="368"/>
                    <a:pt x="1684" y="368"/>
                  </a:cubicBezTo>
                  <a:cubicBezTo>
                    <a:pt x="1408" y="368"/>
                    <a:pt x="1408" y="368"/>
                    <a:pt x="1408" y="368"/>
                  </a:cubicBezTo>
                  <a:cubicBezTo>
                    <a:pt x="1408" y="0"/>
                    <a:pt x="1408" y="0"/>
                    <a:pt x="1408" y="0"/>
                  </a:cubicBezTo>
                  <a:cubicBezTo>
                    <a:pt x="1316" y="0"/>
                    <a:pt x="1316" y="0"/>
                    <a:pt x="1316" y="0"/>
                  </a:cubicBezTo>
                  <a:cubicBezTo>
                    <a:pt x="1316" y="368"/>
                    <a:pt x="1316" y="368"/>
                    <a:pt x="1316" y="368"/>
                  </a:cubicBezTo>
                  <a:cubicBezTo>
                    <a:pt x="1040" y="368"/>
                    <a:pt x="1040" y="368"/>
                    <a:pt x="1040" y="368"/>
                  </a:cubicBezTo>
                  <a:cubicBezTo>
                    <a:pt x="1040" y="0"/>
                    <a:pt x="1040" y="0"/>
                    <a:pt x="1040" y="0"/>
                  </a:cubicBezTo>
                  <a:cubicBezTo>
                    <a:pt x="948" y="0"/>
                    <a:pt x="948" y="0"/>
                    <a:pt x="948" y="0"/>
                  </a:cubicBezTo>
                  <a:cubicBezTo>
                    <a:pt x="948" y="368"/>
                    <a:pt x="948" y="368"/>
                    <a:pt x="948" y="368"/>
                  </a:cubicBezTo>
                  <a:cubicBezTo>
                    <a:pt x="648" y="368"/>
                    <a:pt x="648" y="368"/>
                    <a:pt x="648" y="368"/>
                  </a:cubicBezTo>
                  <a:cubicBezTo>
                    <a:pt x="648" y="0"/>
                    <a:pt x="648" y="0"/>
                    <a:pt x="648" y="0"/>
                  </a:cubicBezTo>
                  <a:cubicBezTo>
                    <a:pt x="556" y="0"/>
                    <a:pt x="556" y="0"/>
                    <a:pt x="556" y="0"/>
                  </a:cubicBezTo>
                  <a:cubicBezTo>
                    <a:pt x="556" y="371"/>
                    <a:pt x="556" y="371"/>
                    <a:pt x="556" y="371"/>
                  </a:cubicBezTo>
                  <a:cubicBezTo>
                    <a:pt x="464" y="391"/>
                    <a:pt x="401" y="460"/>
                    <a:pt x="380" y="552"/>
                  </a:cubicBezTo>
                  <a:cubicBezTo>
                    <a:pt x="0" y="552"/>
                    <a:pt x="0" y="552"/>
                    <a:pt x="0" y="552"/>
                  </a:cubicBezTo>
                  <a:cubicBezTo>
                    <a:pt x="0" y="644"/>
                    <a:pt x="0" y="644"/>
                    <a:pt x="0" y="644"/>
                  </a:cubicBezTo>
                  <a:cubicBezTo>
                    <a:pt x="372" y="644"/>
                    <a:pt x="372" y="644"/>
                    <a:pt x="372" y="644"/>
                  </a:cubicBezTo>
                  <a:cubicBezTo>
                    <a:pt x="372" y="920"/>
                    <a:pt x="372" y="920"/>
                    <a:pt x="372" y="920"/>
                  </a:cubicBezTo>
                  <a:cubicBezTo>
                    <a:pt x="0" y="920"/>
                    <a:pt x="0" y="920"/>
                    <a:pt x="0" y="920"/>
                  </a:cubicBezTo>
                  <a:cubicBezTo>
                    <a:pt x="0" y="1012"/>
                    <a:pt x="0" y="1012"/>
                    <a:pt x="0" y="1012"/>
                  </a:cubicBezTo>
                  <a:cubicBezTo>
                    <a:pt x="372" y="1012"/>
                    <a:pt x="372" y="1012"/>
                    <a:pt x="372" y="1012"/>
                  </a:cubicBezTo>
                  <a:cubicBezTo>
                    <a:pt x="372" y="1312"/>
                    <a:pt x="372" y="1312"/>
                    <a:pt x="372" y="1312"/>
                  </a:cubicBezTo>
                  <a:cubicBezTo>
                    <a:pt x="0" y="1312"/>
                    <a:pt x="0" y="1312"/>
                    <a:pt x="0" y="1312"/>
                  </a:cubicBezTo>
                  <a:cubicBezTo>
                    <a:pt x="0" y="1404"/>
                    <a:pt x="0" y="1404"/>
                    <a:pt x="0" y="1404"/>
                  </a:cubicBezTo>
                  <a:cubicBezTo>
                    <a:pt x="372" y="1404"/>
                    <a:pt x="372" y="1404"/>
                    <a:pt x="372" y="1404"/>
                  </a:cubicBezTo>
                  <a:cubicBezTo>
                    <a:pt x="372" y="1517"/>
                    <a:pt x="372" y="1517"/>
                    <a:pt x="372" y="1517"/>
                  </a:cubicBezTo>
                  <a:cubicBezTo>
                    <a:pt x="372" y="1684"/>
                    <a:pt x="372" y="1684"/>
                    <a:pt x="372" y="1684"/>
                  </a:cubicBezTo>
                  <a:cubicBezTo>
                    <a:pt x="0" y="1684"/>
                    <a:pt x="0" y="1684"/>
                    <a:pt x="0" y="1684"/>
                  </a:cubicBezTo>
                  <a:cubicBezTo>
                    <a:pt x="0" y="1776"/>
                    <a:pt x="0" y="1776"/>
                    <a:pt x="0" y="1776"/>
                  </a:cubicBezTo>
                  <a:cubicBezTo>
                    <a:pt x="372" y="1776"/>
                    <a:pt x="372" y="1776"/>
                    <a:pt x="372" y="1776"/>
                  </a:cubicBezTo>
                  <a:cubicBezTo>
                    <a:pt x="372" y="1901"/>
                    <a:pt x="372" y="1901"/>
                    <a:pt x="372" y="1901"/>
                  </a:cubicBezTo>
                  <a:cubicBezTo>
                    <a:pt x="372" y="2052"/>
                    <a:pt x="372" y="2052"/>
                    <a:pt x="372" y="2052"/>
                  </a:cubicBezTo>
                  <a:cubicBezTo>
                    <a:pt x="0" y="2052"/>
                    <a:pt x="0" y="2052"/>
                    <a:pt x="0" y="2052"/>
                  </a:cubicBezTo>
                  <a:cubicBezTo>
                    <a:pt x="0" y="2144"/>
                    <a:pt x="0" y="2144"/>
                    <a:pt x="0" y="2144"/>
                  </a:cubicBezTo>
                  <a:cubicBezTo>
                    <a:pt x="372" y="2144"/>
                    <a:pt x="372" y="2144"/>
                    <a:pt x="372" y="2144"/>
                  </a:cubicBezTo>
                  <a:cubicBezTo>
                    <a:pt x="372" y="2444"/>
                    <a:pt x="372" y="2444"/>
                    <a:pt x="372" y="2444"/>
                  </a:cubicBezTo>
                  <a:cubicBezTo>
                    <a:pt x="0" y="2444"/>
                    <a:pt x="0" y="2444"/>
                    <a:pt x="0" y="2444"/>
                  </a:cubicBezTo>
                  <a:cubicBezTo>
                    <a:pt x="0" y="2536"/>
                    <a:pt x="0" y="2536"/>
                    <a:pt x="0" y="2536"/>
                  </a:cubicBezTo>
                  <a:cubicBezTo>
                    <a:pt x="372" y="2536"/>
                    <a:pt x="372" y="2536"/>
                    <a:pt x="372" y="2536"/>
                  </a:cubicBezTo>
                  <a:cubicBezTo>
                    <a:pt x="372" y="2812"/>
                    <a:pt x="372" y="2812"/>
                    <a:pt x="372" y="2812"/>
                  </a:cubicBezTo>
                  <a:cubicBezTo>
                    <a:pt x="0" y="2812"/>
                    <a:pt x="0" y="2812"/>
                    <a:pt x="0" y="2812"/>
                  </a:cubicBezTo>
                  <a:cubicBezTo>
                    <a:pt x="0" y="2904"/>
                    <a:pt x="0" y="2904"/>
                    <a:pt x="0" y="2904"/>
                  </a:cubicBezTo>
                  <a:cubicBezTo>
                    <a:pt x="378" y="2904"/>
                    <a:pt x="378" y="2904"/>
                    <a:pt x="378" y="2904"/>
                  </a:cubicBezTo>
                  <a:cubicBezTo>
                    <a:pt x="396" y="2996"/>
                    <a:pt x="464" y="3079"/>
                    <a:pt x="556" y="3100"/>
                  </a:cubicBezTo>
                  <a:cubicBezTo>
                    <a:pt x="556" y="3460"/>
                    <a:pt x="556" y="3460"/>
                    <a:pt x="556" y="3460"/>
                  </a:cubicBezTo>
                  <a:cubicBezTo>
                    <a:pt x="648" y="3460"/>
                    <a:pt x="648" y="3460"/>
                    <a:pt x="648" y="3460"/>
                  </a:cubicBezTo>
                  <a:cubicBezTo>
                    <a:pt x="648" y="3112"/>
                    <a:pt x="648" y="3112"/>
                    <a:pt x="648" y="3112"/>
                  </a:cubicBezTo>
                  <a:cubicBezTo>
                    <a:pt x="948" y="3112"/>
                    <a:pt x="948" y="3112"/>
                    <a:pt x="948" y="3112"/>
                  </a:cubicBezTo>
                  <a:cubicBezTo>
                    <a:pt x="948" y="3460"/>
                    <a:pt x="948" y="3460"/>
                    <a:pt x="948" y="3460"/>
                  </a:cubicBezTo>
                  <a:cubicBezTo>
                    <a:pt x="1040" y="3460"/>
                    <a:pt x="1040" y="3460"/>
                    <a:pt x="1040" y="3460"/>
                  </a:cubicBezTo>
                  <a:cubicBezTo>
                    <a:pt x="1040" y="3112"/>
                    <a:pt x="1040" y="3112"/>
                    <a:pt x="1040" y="3112"/>
                  </a:cubicBezTo>
                  <a:cubicBezTo>
                    <a:pt x="1316" y="3112"/>
                    <a:pt x="1316" y="3112"/>
                    <a:pt x="1316" y="3112"/>
                  </a:cubicBezTo>
                  <a:cubicBezTo>
                    <a:pt x="1316" y="3460"/>
                    <a:pt x="1316" y="3460"/>
                    <a:pt x="1316" y="3460"/>
                  </a:cubicBezTo>
                  <a:cubicBezTo>
                    <a:pt x="1408" y="3460"/>
                    <a:pt x="1408" y="3460"/>
                    <a:pt x="1408" y="3460"/>
                  </a:cubicBezTo>
                  <a:cubicBezTo>
                    <a:pt x="1408" y="3112"/>
                    <a:pt x="1408" y="3112"/>
                    <a:pt x="1408" y="3112"/>
                  </a:cubicBezTo>
                  <a:cubicBezTo>
                    <a:pt x="1684" y="3112"/>
                    <a:pt x="1684" y="3112"/>
                    <a:pt x="1684" y="3112"/>
                  </a:cubicBezTo>
                  <a:cubicBezTo>
                    <a:pt x="1684" y="3460"/>
                    <a:pt x="1684" y="3460"/>
                    <a:pt x="1684" y="3460"/>
                  </a:cubicBezTo>
                  <a:cubicBezTo>
                    <a:pt x="1776" y="3460"/>
                    <a:pt x="1776" y="3460"/>
                    <a:pt x="1776" y="3460"/>
                  </a:cubicBezTo>
                  <a:cubicBezTo>
                    <a:pt x="1776" y="3112"/>
                    <a:pt x="1776" y="3112"/>
                    <a:pt x="1776" y="3112"/>
                  </a:cubicBezTo>
                  <a:cubicBezTo>
                    <a:pt x="2076" y="3112"/>
                    <a:pt x="2076" y="3112"/>
                    <a:pt x="2076" y="3112"/>
                  </a:cubicBezTo>
                  <a:cubicBezTo>
                    <a:pt x="2076" y="3460"/>
                    <a:pt x="2076" y="3460"/>
                    <a:pt x="2076" y="3460"/>
                  </a:cubicBezTo>
                  <a:cubicBezTo>
                    <a:pt x="2168" y="3460"/>
                    <a:pt x="2168" y="3460"/>
                    <a:pt x="2168" y="3460"/>
                  </a:cubicBezTo>
                  <a:cubicBezTo>
                    <a:pt x="2168" y="3112"/>
                    <a:pt x="2168" y="3112"/>
                    <a:pt x="2168" y="3112"/>
                  </a:cubicBezTo>
                  <a:cubicBezTo>
                    <a:pt x="2448" y="3112"/>
                    <a:pt x="2448" y="3112"/>
                    <a:pt x="2448" y="3112"/>
                  </a:cubicBezTo>
                  <a:cubicBezTo>
                    <a:pt x="2448" y="3460"/>
                    <a:pt x="2448" y="3460"/>
                    <a:pt x="2448" y="3460"/>
                  </a:cubicBezTo>
                  <a:cubicBezTo>
                    <a:pt x="2540" y="3460"/>
                    <a:pt x="2540" y="3460"/>
                    <a:pt x="2540" y="3460"/>
                  </a:cubicBezTo>
                  <a:cubicBezTo>
                    <a:pt x="2540" y="3112"/>
                    <a:pt x="2540" y="3112"/>
                    <a:pt x="2540" y="3112"/>
                  </a:cubicBezTo>
                  <a:cubicBezTo>
                    <a:pt x="2840" y="3112"/>
                    <a:pt x="2840" y="3112"/>
                    <a:pt x="2840" y="3112"/>
                  </a:cubicBezTo>
                  <a:cubicBezTo>
                    <a:pt x="2840" y="3460"/>
                    <a:pt x="2840" y="3460"/>
                    <a:pt x="2840" y="3460"/>
                  </a:cubicBezTo>
                  <a:cubicBezTo>
                    <a:pt x="2932" y="3460"/>
                    <a:pt x="2932" y="3460"/>
                    <a:pt x="2932" y="3460"/>
                  </a:cubicBezTo>
                  <a:cubicBezTo>
                    <a:pt x="2932" y="3100"/>
                    <a:pt x="2932" y="3100"/>
                    <a:pt x="2932" y="3100"/>
                  </a:cubicBezTo>
                  <a:cubicBezTo>
                    <a:pt x="3024" y="3079"/>
                    <a:pt x="3088" y="2996"/>
                    <a:pt x="3106" y="2904"/>
                  </a:cubicBezTo>
                  <a:cubicBezTo>
                    <a:pt x="3484" y="2904"/>
                    <a:pt x="3484" y="2904"/>
                    <a:pt x="3484" y="2904"/>
                  </a:cubicBezTo>
                  <a:cubicBezTo>
                    <a:pt x="3484" y="2812"/>
                    <a:pt x="3484" y="2812"/>
                    <a:pt x="3484" y="2812"/>
                  </a:cubicBezTo>
                  <a:cubicBezTo>
                    <a:pt x="3116" y="2812"/>
                    <a:pt x="3116" y="2812"/>
                    <a:pt x="3116" y="2812"/>
                  </a:cubicBezTo>
                  <a:cubicBezTo>
                    <a:pt x="3116" y="2536"/>
                    <a:pt x="3116" y="2536"/>
                    <a:pt x="3116" y="2536"/>
                  </a:cubicBezTo>
                  <a:cubicBezTo>
                    <a:pt x="3484" y="2536"/>
                    <a:pt x="3484" y="2536"/>
                    <a:pt x="3484" y="2536"/>
                  </a:cubicBezTo>
                  <a:cubicBezTo>
                    <a:pt x="3484" y="2444"/>
                    <a:pt x="3484" y="2444"/>
                    <a:pt x="3484" y="2444"/>
                  </a:cubicBezTo>
                  <a:cubicBezTo>
                    <a:pt x="3116" y="2444"/>
                    <a:pt x="3116" y="2444"/>
                    <a:pt x="3116" y="2444"/>
                  </a:cubicBezTo>
                  <a:cubicBezTo>
                    <a:pt x="3116" y="2144"/>
                    <a:pt x="3116" y="2144"/>
                    <a:pt x="3116" y="2144"/>
                  </a:cubicBezTo>
                  <a:cubicBezTo>
                    <a:pt x="3484" y="2144"/>
                    <a:pt x="3484" y="2144"/>
                    <a:pt x="3484" y="2144"/>
                  </a:cubicBezTo>
                  <a:cubicBezTo>
                    <a:pt x="3484" y="2052"/>
                    <a:pt x="3484" y="2052"/>
                    <a:pt x="3484" y="2052"/>
                  </a:cubicBezTo>
                  <a:cubicBezTo>
                    <a:pt x="3116" y="2052"/>
                    <a:pt x="3116" y="2052"/>
                    <a:pt x="3116" y="2052"/>
                  </a:cubicBezTo>
                  <a:cubicBezTo>
                    <a:pt x="3116" y="1954"/>
                    <a:pt x="3116" y="1954"/>
                    <a:pt x="3116" y="1954"/>
                  </a:cubicBezTo>
                  <a:cubicBezTo>
                    <a:pt x="3116" y="1776"/>
                    <a:pt x="3116" y="1776"/>
                    <a:pt x="3116" y="1776"/>
                  </a:cubicBezTo>
                  <a:cubicBezTo>
                    <a:pt x="3484" y="1776"/>
                    <a:pt x="3484" y="1776"/>
                    <a:pt x="3484" y="1776"/>
                  </a:cubicBezTo>
                  <a:cubicBezTo>
                    <a:pt x="3484" y="1684"/>
                    <a:pt x="3484" y="1684"/>
                    <a:pt x="3484" y="1684"/>
                  </a:cubicBezTo>
                  <a:cubicBezTo>
                    <a:pt x="3116" y="1684"/>
                    <a:pt x="3116" y="1684"/>
                    <a:pt x="3116" y="1684"/>
                  </a:cubicBezTo>
                  <a:cubicBezTo>
                    <a:pt x="3116" y="1570"/>
                    <a:pt x="3116" y="1570"/>
                    <a:pt x="3116" y="1570"/>
                  </a:cubicBezTo>
                  <a:cubicBezTo>
                    <a:pt x="3116" y="1404"/>
                    <a:pt x="3116" y="1404"/>
                    <a:pt x="3116" y="1404"/>
                  </a:cubicBezTo>
                  <a:cubicBezTo>
                    <a:pt x="3484" y="1404"/>
                    <a:pt x="3484" y="1404"/>
                    <a:pt x="3484" y="1404"/>
                  </a:cubicBezTo>
                  <a:cubicBezTo>
                    <a:pt x="3484" y="1312"/>
                    <a:pt x="3484" y="1312"/>
                    <a:pt x="3484" y="1312"/>
                  </a:cubicBezTo>
                  <a:cubicBezTo>
                    <a:pt x="3116" y="1312"/>
                    <a:pt x="3116" y="1312"/>
                    <a:pt x="3116" y="1312"/>
                  </a:cubicBezTo>
                  <a:cubicBezTo>
                    <a:pt x="3116" y="1012"/>
                    <a:pt x="3116" y="1012"/>
                    <a:pt x="3116" y="1012"/>
                  </a:cubicBezTo>
                  <a:cubicBezTo>
                    <a:pt x="3484" y="1012"/>
                    <a:pt x="3484" y="1012"/>
                    <a:pt x="3484" y="1012"/>
                  </a:cubicBezTo>
                  <a:cubicBezTo>
                    <a:pt x="3484" y="920"/>
                    <a:pt x="3484" y="920"/>
                    <a:pt x="3484" y="920"/>
                  </a:cubicBezTo>
                  <a:cubicBezTo>
                    <a:pt x="3116" y="920"/>
                    <a:pt x="3116" y="920"/>
                    <a:pt x="3116" y="920"/>
                  </a:cubicBezTo>
                  <a:cubicBezTo>
                    <a:pt x="3116" y="644"/>
                    <a:pt x="3116" y="644"/>
                    <a:pt x="3116" y="644"/>
                  </a:cubicBezTo>
                  <a:lnTo>
                    <a:pt x="3484" y="644"/>
                  </a:lnTo>
                  <a:close/>
                  <a:moveTo>
                    <a:pt x="3024" y="1954"/>
                  </a:moveTo>
                  <a:cubicBezTo>
                    <a:pt x="3024" y="2866"/>
                    <a:pt x="3024" y="2866"/>
                    <a:pt x="3024" y="2866"/>
                  </a:cubicBezTo>
                  <a:cubicBezTo>
                    <a:pt x="3024" y="2947"/>
                    <a:pt x="2952" y="3020"/>
                    <a:pt x="2871" y="3020"/>
                  </a:cubicBezTo>
                  <a:cubicBezTo>
                    <a:pt x="614" y="3020"/>
                    <a:pt x="614" y="3020"/>
                    <a:pt x="614" y="3020"/>
                  </a:cubicBezTo>
                  <a:cubicBezTo>
                    <a:pt x="532" y="3020"/>
                    <a:pt x="464" y="2947"/>
                    <a:pt x="464" y="2866"/>
                  </a:cubicBezTo>
                  <a:cubicBezTo>
                    <a:pt x="464" y="1901"/>
                    <a:pt x="464" y="1901"/>
                    <a:pt x="464" y="1901"/>
                  </a:cubicBezTo>
                  <a:cubicBezTo>
                    <a:pt x="464" y="1517"/>
                    <a:pt x="464" y="1517"/>
                    <a:pt x="464" y="1517"/>
                  </a:cubicBezTo>
                  <a:cubicBezTo>
                    <a:pt x="464" y="606"/>
                    <a:pt x="464" y="606"/>
                    <a:pt x="464" y="606"/>
                  </a:cubicBezTo>
                  <a:cubicBezTo>
                    <a:pt x="464" y="524"/>
                    <a:pt x="532" y="460"/>
                    <a:pt x="614" y="460"/>
                  </a:cubicBezTo>
                  <a:cubicBezTo>
                    <a:pt x="2871" y="460"/>
                    <a:pt x="2871" y="460"/>
                    <a:pt x="2871" y="460"/>
                  </a:cubicBezTo>
                  <a:cubicBezTo>
                    <a:pt x="2952" y="460"/>
                    <a:pt x="3024" y="524"/>
                    <a:pt x="3024" y="606"/>
                  </a:cubicBezTo>
                  <a:cubicBezTo>
                    <a:pt x="3024" y="1570"/>
                    <a:pt x="3024" y="1570"/>
                    <a:pt x="3024" y="1570"/>
                  </a:cubicBezTo>
                  <a:lnTo>
                    <a:pt x="3024" y="19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 name="Freeform 6"/>
            <p:cNvSpPr>
              <a:spLocks noEditPoints="1"/>
            </p:cNvSpPr>
            <p:nvPr/>
          </p:nvSpPr>
          <p:spPr bwMode="auto">
            <a:xfrm>
              <a:off x="485131" y="2504684"/>
              <a:ext cx="222601" cy="222421"/>
            </a:xfrm>
            <a:custGeom>
              <a:avLst/>
              <a:gdLst>
                <a:gd name="T0" fmla="*/ 1568 w 1568"/>
                <a:gd name="T1" fmla="*/ 386 h 1568"/>
                <a:gd name="T2" fmla="*/ 1182 w 1568"/>
                <a:gd name="T3" fmla="*/ 0 h 1568"/>
                <a:gd name="T4" fmla="*/ 386 w 1568"/>
                <a:gd name="T5" fmla="*/ 0 h 1568"/>
                <a:gd name="T6" fmla="*/ 0 w 1568"/>
                <a:gd name="T7" fmla="*/ 386 h 1568"/>
                <a:gd name="T8" fmla="*/ 0 w 1568"/>
                <a:gd name="T9" fmla="*/ 1182 h 1568"/>
                <a:gd name="T10" fmla="*/ 386 w 1568"/>
                <a:gd name="T11" fmla="*/ 1568 h 1568"/>
                <a:gd name="T12" fmla="*/ 1182 w 1568"/>
                <a:gd name="T13" fmla="*/ 1568 h 1568"/>
                <a:gd name="T14" fmla="*/ 1568 w 1568"/>
                <a:gd name="T15" fmla="*/ 1182 h 1568"/>
                <a:gd name="T16" fmla="*/ 1568 w 1568"/>
                <a:gd name="T17" fmla="*/ 386 h 1568"/>
                <a:gd name="T18" fmla="*/ 1480 w 1568"/>
                <a:gd name="T19" fmla="*/ 1183 h 1568"/>
                <a:gd name="T20" fmla="*/ 1184 w 1568"/>
                <a:gd name="T21" fmla="*/ 1476 h 1568"/>
                <a:gd name="T22" fmla="*/ 388 w 1568"/>
                <a:gd name="T23" fmla="*/ 1476 h 1568"/>
                <a:gd name="T24" fmla="*/ 96 w 1568"/>
                <a:gd name="T25" fmla="*/ 1183 h 1568"/>
                <a:gd name="T26" fmla="*/ 96 w 1568"/>
                <a:gd name="T27" fmla="*/ 386 h 1568"/>
                <a:gd name="T28" fmla="*/ 388 w 1568"/>
                <a:gd name="T29" fmla="*/ 92 h 1568"/>
                <a:gd name="T30" fmla="*/ 1184 w 1568"/>
                <a:gd name="T31" fmla="*/ 92 h 1568"/>
                <a:gd name="T32" fmla="*/ 1480 w 1568"/>
                <a:gd name="T33" fmla="*/ 386 h 1568"/>
                <a:gd name="T34" fmla="*/ 1480 w 1568"/>
                <a:gd name="T35" fmla="*/ 1183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8" h="1568">
                  <a:moveTo>
                    <a:pt x="1568" y="386"/>
                  </a:moveTo>
                  <a:cubicBezTo>
                    <a:pt x="1568" y="173"/>
                    <a:pt x="1395" y="0"/>
                    <a:pt x="1182" y="0"/>
                  </a:cubicBezTo>
                  <a:cubicBezTo>
                    <a:pt x="386" y="0"/>
                    <a:pt x="386" y="0"/>
                    <a:pt x="386" y="0"/>
                  </a:cubicBezTo>
                  <a:cubicBezTo>
                    <a:pt x="173" y="0"/>
                    <a:pt x="0" y="173"/>
                    <a:pt x="0" y="386"/>
                  </a:cubicBezTo>
                  <a:cubicBezTo>
                    <a:pt x="0" y="1182"/>
                    <a:pt x="0" y="1182"/>
                    <a:pt x="0" y="1182"/>
                  </a:cubicBezTo>
                  <a:cubicBezTo>
                    <a:pt x="0" y="1395"/>
                    <a:pt x="173" y="1568"/>
                    <a:pt x="386" y="1568"/>
                  </a:cubicBezTo>
                  <a:cubicBezTo>
                    <a:pt x="1182" y="1568"/>
                    <a:pt x="1182" y="1568"/>
                    <a:pt x="1182" y="1568"/>
                  </a:cubicBezTo>
                  <a:cubicBezTo>
                    <a:pt x="1395" y="1568"/>
                    <a:pt x="1568" y="1395"/>
                    <a:pt x="1568" y="1182"/>
                  </a:cubicBezTo>
                  <a:lnTo>
                    <a:pt x="1568" y="386"/>
                  </a:lnTo>
                  <a:close/>
                  <a:moveTo>
                    <a:pt x="1480" y="1183"/>
                  </a:moveTo>
                  <a:cubicBezTo>
                    <a:pt x="1480" y="1345"/>
                    <a:pt x="1347" y="1476"/>
                    <a:pt x="1184" y="1476"/>
                  </a:cubicBezTo>
                  <a:cubicBezTo>
                    <a:pt x="388" y="1476"/>
                    <a:pt x="388" y="1476"/>
                    <a:pt x="388" y="1476"/>
                  </a:cubicBezTo>
                  <a:cubicBezTo>
                    <a:pt x="226" y="1476"/>
                    <a:pt x="96" y="1345"/>
                    <a:pt x="96" y="1183"/>
                  </a:cubicBezTo>
                  <a:cubicBezTo>
                    <a:pt x="96" y="386"/>
                    <a:pt x="96" y="386"/>
                    <a:pt x="96" y="386"/>
                  </a:cubicBezTo>
                  <a:cubicBezTo>
                    <a:pt x="96" y="224"/>
                    <a:pt x="226" y="92"/>
                    <a:pt x="388" y="92"/>
                  </a:cubicBezTo>
                  <a:cubicBezTo>
                    <a:pt x="1184" y="92"/>
                    <a:pt x="1184" y="92"/>
                    <a:pt x="1184" y="92"/>
                  </a:cubicBezTo>
                  <a:cubicBezTo>
                    <a:pt x="1347" y="92"/>
                    <a:pt x="1480" y="224"/>
                    <a:pt x="1480" y="386"/>
                  </a:cubicBezTo>
                  <a:lnTo>
                    <a:pt x="1480" y="1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 name="Freeform 7"/>
          <p:cNvSpPr>
            <a:spLocks noEditPoints="1"/>
          </p:cNvSpPr>
          <p:nvPr/>
        </p:nvSpPr>
        <p:spPr bwMode="auto">
          <a:xfrm>
            <a:off x="4825506" y="5247115"/>
            <a:ext cx="329188" cy="461355"/>
          </a:xfrm>
          <a:custGeom>
            <a:avLst/>
            <a:gdLst>
              <a:gd name="T0" fmla="*/ 0 w 5482"/>
              <a:gd name="T1" fmla="*/ 0 h 7683"/>
              <a:gd name="T2" fmla="*/ 0 w 5482"/>
              <a:gd name="T3" fmla="*/ 6450 h 7683"/>
              <a:gd name="T4" fmla="*/ 1219 w 5482"/>
              <a:gd name="T5" fmla="*/ 7683 h 7683"/>
              <a:gd name="T6" fmla="*/ 5482 w 5482"/>
              <a:gd name="T7" fmla="*/ 7683 h 7683"/>
              <a:gd name="T8" fmla="*/ 5482 w 5482"/>
              <a:gd name="T9" fmla="*/ 0 h 7683"/>
              <a:gd name="T10" fmla="*/ 0 w 5482"/>
              <a:gd name="T11" fmla="*/ 0 h 7683"/>
              <a:gd name="T12" fmla="*/ 1137 w 5482"/>
              <a:gd name="T13" fmla="*/ 7272 h 7683"/>
              <a:gd name="T14" fmla="*/ 368 w 5482"/>
              <a:gd name="T15" fmla="*/ 6483 h 7683"/>
              <a:gd name="T16" fmla="*/ 1137 w 5482"/>
              <a:gd name="T17" fmla="*/ 6483 h 7683"/>
              <a:gd name="T18" fmla="*/ 1137 w 5482"/>
              <a:gd name="T19" fmla="*/ 7272 h 7683"/>
              <a:gd name="T20" fmla="*/ 5262 w 5482"/>
              <a:gd name="T21" fmla="*/ 7466 h 7683"/>
              <a:gd name="T22" fmla="*/ 1354 w 5482"/>
              <a:gd name="T23" fmla="*/ 7466 h 7683"/>
              <a:gd name="T24" fmla="*/ 1354 w 5482"/>
              <a:gd name="T25" fmla="*/ 6266 h 7683"/>
              <a:gd name="T26" fmla="*/ 217 w 5482"/>
              <a:gd name="T27" fmla="*/ 6266 h 7683"/>
              <a:gd name="T28" fmla="*/ 217 w 5482"/>
              <a:gd name="T29" fmla="*/ 218 h 7683"/>
              <a:gd name="T30" fmla="*/ 5262 w 5482"/>
              <a:gd name="T31" fmla="*/ 218 h 7683"/>
              <a:gd name="T32" fmla="*/ 5262 w 5482"/>
              <a:gd name="T33" fmla="*/ 7466 h 7683"/>
              <a:gd name="T34" fmla="*/ 4409 w 5482"/>
              <a:gd name="T35" fmla="*/ 1304 h 7683"/>
              <a:gd name="T36" fmla="*/ 1402 w 5482"/>
              <a:gd name="T37" fmla="*/ 1304 h 7683"/>
              <a:gd name="T38" fmla="*/ 1402 w 5482"/>
              <a:gd name="T39" fmla="*/ 1087 h 7683"/>
              <a:gd name="T40" fmla="*/ 4409 w 5482"/>
              <a:gd name="T41" fmla="*/ 1087 h 7683"/>
              <a:gd name="T42" fmla="*/ 4409 w 5482"/>
              <a:gd name="T43" fmla="*/ 1304 h 7683"/>
              <a:gd name="T44" fmla="*/ 2546 w 5482"/>
              <a:gd name="T45" fmla="*/ 2448 h 7683"/>
              <a:gd name="T46" fmla="*/ 4409 w 5482"/>
              <a:gd name="T47" fmla="*/ 2448 h 7683"/>
              <a:gd name="T48" fmla="*/ 4409 w 5482"/>
              <a:gd name="T49" fmla="*/ 2665 h 7683"/>
              <a:gd name="T50" fmla="*/ 2546 w 5482"/>
              <a:gd name="T51" fmla="*/ 2665 h 7683"/>
              <a:gd name="T52" fmla="*/ 2546 w 5482"/>
              <a:gd name="T53" fmla="*/ 2448 h 7683"/>
              <a:gd name="T54" fmla="*/ 4409 w 5482"/>
              <a:gd name="T55" fmla="*/ 1739 h 7683"/>
              <a:gd name="T56" fmla="*/ 967 w 5482"/>
              <a:gd name="T57" fmla="*/ 1739 h 7683"/>
              <a:gd name="T58" fmla="*/ 967 w 5482"/>
              <a:gd name="T59" fmla="*/ 1522 h 7683"/>
              <a:gd name="T60" fmla="*/ 4409 w 5482"/>
              <a:gd name="T61" fmla="*/ 1522 h 7683"/>
              <a:gd name="T62" fmla="*/ 4409 w 5482"/>
              <a:gd name="T63" fmla="*/ 1739 h 7683"/>
              <a:gd name="T64" fmla="*/ 4409 w 5482"/>
              <a:gd name="T65" fmla="*/ 2174 h 7683"/>
              <a:gd name="T66" fmla="*/ 967 w 5482"/>
              <a:gd name="T67" fmla="*/ 2174 h 7683"/>
              <a:gd name="T68" fmla="*/ 967 w 5482"/>
              <a:gd name="T69" fmla="*/ 1956 h 7683"/>
              <a:gd name="T70" fmla="*/ 4409 w 5482"/>
              <a:gd name="T71" fmla="*/ 1956 h 7683"/>
              <a:gd name="T72" fmla="*/ 4409 w 5482"/>
              <a:gd name="T73" fmla="*/ 2174 h 7683"/>
              <a:gd name="T74" fmla="*/ 1402 w 5482"/>
              <a:gd name="T75" fmla="*/ 4083 h 7683"/>
              <a:gd name="T76" fmla="*/ 4409 w 5482"/>
              <a:gd name="T77" fmla="*/ 4083 h 7683"/>
              <a:gd name="T78" fmla="*/ 4409 w 5482"/>
              <a:gd name="T79" fmla="*/ 4300 h 7683"/>
              <a:gd name="T80" fmla="*/ 1402 w 5482"/>
              <a:gd name="T81" fmla="*/ 4300 h 7683"/>
              <a:gd name="T82" fmla="*/ 1402 w 5482"/>
              <a:gd name="T83" fmla="*/ 4083 h 7683"/>
              <a:gd name="T84" fmla="*/ 4409 w 5482"/>
              <a:gd name="T85" fmla="*/ 4735 h 7683"/>
              <a:gd name="T86" fmla="*/ 967 w 5482"/>
              <a:gd name="T87" fmla="*/ 4735 h 7683"/>
              <a:gd name="T88" fmla="*/ 967 w 5482"/>
              <a:gd name="T89" fmla="*/ 4517 h 7683"/>
              <a:gd name="T90" fmla="*/ 4409 w 5482"/>
              <a:gd name="T91" fmla="*/ 4517 h 7683"/>
              <a:gd name="T92" fmla="*/ 4409 w 5482"/>
              <a:gd name="T93" fmla="*/ 4735 h 7683"/>
              <a:gd name="T94" fmla="*/ 4409 w 5482"/>
              <a:gd name="T95" fmla="*/ 5226 h 7683"/>
              <a:gd name="T96" fmla="*/ 967 w 5482"/>
              <a:gd name="T97" fmla="*/ 5226 h 7683"/>
              <a:gd name="T98" fmla="*/ 967 w 5482"/>
              <a:gd name="T99" fmla="*/ 5009 h 7683"/>
              <a:gd name="T100" fmla="*/ 4409 w 5482"/>
              <a:gd name="T101" fmla="*/ 5009 h 7683"/>
              <a:gd name="T102" fmla="*/ 4409 w 5482"/>
              <a:gd name="T103" fmla="*/ 5226 h 7683"/>
              <a:gd name="T104" fmla="*/ 2328 w 5482"/>
              <a:gd name="T105" fmla="*/ 2391 h 7683"/>
              <a:gd name="T106" fmla="*/ 967 w 5482"/>
              <a:gd name="T107" fmla="*/ 2391 h 7683"/>
              <a:gd name="T108" fmla="*/ 967 w 5482"/>
              <a:gd name="T109" fmla="*/ 3761 h 7683"/>
              <a:gd name="T110" fmla="*/ 2328 w 5482"/>
              <a:gd name="T111" fmla="*/ 3761 h 7683"/>
              <a:gd name="T112" fmla="*/ 2328 w 5482"/>
              <a:gd name="T113" fmla="*/ 2391 h 7683"/>
              <a:gd name="T114" fmla="*/ 2111 w 5482"/>
              <a:gd name="T115" fmla="*/ 3544 h 7683"/>
              <a:gd name="T116" fmla="*/ 1184 w 5482"/>
              <a:gd name="T117" fmla="*/ 3544 h 7683"/>
              <a:gd name="T118" fmla="*/ 1184 w 5482"/>
              <a:gd name="T119" fmla="*/ 2618 h 7683"/>
              <a:gd name="T120" fmla="*/ 2111 w 5482"/>
              <a:gd name="T121" fmla="*/ 2618 h 7683"/>
              <a:gd name="T122" fmla="*/ 2111 w 5482"/>
              <a:gd name="T123" fmla="*/ 3544 h 7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2" h="7683">
                <a:moveTo>
                  <a:pt x="0" y="0"/>
                </a:moveTo>
                <a:lnTo>
                  <a:pt x="0" y="6450"/>
                </a:lnTo>
                <a:lnTo>
                  <a:pt x="1219" y="7683"/>
                </a:lnTo>
                <a:lnTo>
                  <a:pt x="5482" y="7683"/>
                </a:lnTo>
                <a:lnTo>
                  <a:pt x="5482" y="0"/>
                </a:lnTo>
                <a:lnTo>
                  <a:pt x="0" y="0"/>
                </a:lnTo>
                <a:close/>
                <a:moveTo>
                  <a:pt x="1137" y="7272"/>
                </a:moveTo>
                <a:lnTo>
                  <a:pt x="368" y="6483"/>
                </a:lnTo>
                <a:lnTo>
                  <a:pt x="1137" y="6483"/>
                </a:lnTo>
                <a:lnTo>
                  <a:pt x="1137" y="7272"/>
                </a:lnTo>
                <a:close/>
                <a:moveTo>
                  <a:pt x="5262" y="7466"/>
                </a:moveTo>
                <a:lnTo>
                  <a:pt x="1354" y="7466"/>
                </a:lnTo>
                <a:lnTo>
                  <a:pt x="1354" y="6266"/>
                </a:lnTo>
                <a:lnTo>
                  <a:pt x="217" y="6266"/>
                </a:lnTo>
                <a:lnTo>
                  <a:pt x="217" y="218"/>
                </a:lnTo>
                <a:lnTo>
                  <a:pt x="5262" y="218"/>
                </a:lnTo>
                <a:lnTo>
                  <a:pt x="5262" y="7466"/>
                </a:lnTo>
                <a:close/>
                <a:moveTo>
                  <a:pt x="4409" y="1304"/>
                </a:moveTo>
                <a:lnTo>
                  <a:pt x="1402" y="1304"/>
                </a:lnTo>
                <a:lnTo>
                  <a:pt x="1402" y="1087"/>
                </a:lnTo>
                <a:lnTo>
                  <a:pt x="4409" y="1087"/>
                </a:lnTo>
                <a:lnTo>
                  <a:pt x="4409" y="1304"/>
                </a:lnTo>
                <a:close/>
                <a:moveTo>
                  <a:pt x="2546" y="2448"/>
                </a:moveTo>
                <a:lnTo>
                  <a:pt x="4409" y="2448"/>
                </a:lnTo>
                <a:lnTo>
                  <a:pt x="4409" y="2665"/>
                </a:lnTo>
                <a:lnTo>
                  <a:pt x="2546" y="2665"/>
                </a:lnTo>
                <a:lnTo>
                  <a:pt x="2546" y="2448"/>
                </a:lnTo>
                <a:close/>
                <a:moveTo>
                  <a:pt x="4409" y="1739"/>
                </a:moveTo>
                <a:lnTo>
                  <a:pt x="967" y="1739"/>
                </a:lnTo>
                <a:lnTo>
                  <a:pt x="967" y="1522"/>
                </a:lnTo>
                <a:lnTo>
                  <a:pt x="4409" y="1522"/>
                </a:lnTo>
                <a:lnTo>
                  <a:pt x="4409" y="1739"/>
                </a:lnTo>
                <a:close/>
                <a:moveTo>
                  <a:pt x="4409" y="2174"/>
                </a:moveTo>
                <a:lnTo>
                  <a:pt x="967" y="2174"/>
                </a:lnTo>
                <a:lnTo>
                  <a:pt x="967" y="1956"/>
                </a:lnTo>
                <a:lnTo>
                  <a:pt x="4409" y="1956"/>
                </a:lnTo>
                <a:lnTo>
                  <a:pt x="4409" y="2174"/>
                </a:lnTo>
                <a:close/>
                <a:moveTo>
                  <a:pt x="1402" y="4083"/>
                </a:moveTo>
                <a:lnTo>
                  <a:pt x="4409" y="4083"/>
                </a:lnTo>
                <a:lnTo>
                  <a:pt x="4409" y="4300"/>
                </a:lnTo>
                <a:lnTo>
                  <a:pt x="1402" y="4300"/>
                </a:lnTo>
                <a:lnTo>
                  <a:pt x="1402" y="4083"/>
                </a:lnTo>
                <a:close/>
                <a:moveTo>
                  <a:pt x="4409" y="4735"/>
                </a:moveTo>
                <a:lnTo>
                  <a:pt x="967" y="4735"/>
                </a:lnTo>
                <a:lnTo>
                  <a:pt x="967" y="4517"/>
                </a:lnTo>
                <a:lnTo>
                  <a:pt x="4409" y="4517"/>
                </a:lnTo>
                <a:lnTo>
                  <a:pt x="4409" y="4735"/>
                </a:lnTo>
                <a:close/>
                <a:moveTo>
                  <a:pt x="4409" y="5226"/>
                </a:moveTo>
                <a:lnTo>
                  <a:pt x="967" y="5226"/>
                </a:lnTo>
                <a:lnTo>
                  <a:pt x="967" y="5009"/>
                </a:lnTo>
                <a:lnTo>
                  <a:pt x="4409" y="5009"/>
                </a:lnTo>
                <a:lnTo>
                  <a:pt x="4409" y="5226"/>
                </a:lnTo>
                <a:close/>
                <a:moveTo>
                  <a:pt x="2328" y="2391"/>
                </a:moveTo>
                <a:lnTo>
                  <a:pt x="967" y="2391"/>
                </a:lnTo>
                <a:lnTo>
                  <a:pt x="967" y="3761"/>
                </a:lnTo>
                <a:lnTo>
                  <a:pt x="2328" y="3761"/>
                </a:lnTo>
                <a:lnTo>
                  <a:pt x="2328" y="2391"/>
                </a:lnTo>
                <a:close/>
                <a:moveTo>
                  <a:pt x="2111" y="3544"/>
                </a:moveTo>
                <a:lnTo>
                  <a:pt x="1184" y="3544"/>
                </a:lnTo>
                <a:lnTo>
                  <a:pt x="1184" y="2618"/>
                </a:lnTo>
                <a:lnTo>
                  <a:pt x="2111" y="2618"/>
                </a:lnTo>
                <a:lnTo>
                  <a:pt x="2111" y="35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8"/>
          <p:cNvSpPr>
            <a:spLocks noEditPoints="1"/>
          </p:cNvSpPr>
          <p:nvPr/>
        </p:nvSpPr>
        <p:spPr bwMode="auto">
          <a:xfrm>
            <a:off x="4726245" y="3318706"/>
            <a:ext cx="530231" cy="515760"/>
          </a:xfrm>
          <a:custGeom>
            <a:avLst/>
            <a:gdLst>
              <a:gd name="T0" fmla="*/ 3291 w 3735"/>
              <a:gd name="T1" fmla="*/ 1020 h 3636"/>
              <a:gd name="T2" fmla="*/ 2942 w 3735"/>
              <a:gd name="T3" fmla="*/ 583 h 3636"/>
              <a:gd name="T4" fmla="*/ 1224 w 3735"/>
              <a:gd name="T5" fmla="*/ 1161 h 3636"/>
              <a:gd name="T6" fmla="*/ 604 w 3735"/>
              <a:gd name="T7" fmla="*/ 1248 h 3636"/>
              <a:gd name="T8" fmla="*/ 222 w 3735"/>
              <a:gd name="T9" fmla="*/ 2854 h 3636"/>
              <a:gd name="T10" fmla="*/ 622 w 3735"/>
              <a:gd name="T11" fmla="*/ 3259 h 3636"/>
              <a:gd name="T12" fmla="*/ 1799 w 3735"/>
              <a:gd name="T13" fmla="*/ 3636 h 3636"/>
              <a:gd name="T14" fmla="*/ 2354 w 3735"/>
              <a:gd name="T15" fmla="*/ 2497 h 3636"/>
              <a:gd name="T16" fmla="*/ 1776 w 3735"/>
              <a:gd name="T17" fmla="*/ 2650 h 3636"/>
              <a:gd name="T18" fmla="*/ 2252 w 3735"/>
              <a:gd name="T19" fmla="*/ 2498 h 3636"/>
              <a:gd name="T20" fmla="*/ 3009 w 3735"/>
              <a:gd name="T21" fmla="*/ 993 h 3636"/>
              <a:gd name="T22" fmla="*/ 2109 w 3735"/>
              <a:gd name="T23" fmla="*/ 809 h 3636"/>
              <a:gd name="T24" fmla="*/ 2891 w 3735"/>
              <a:gd name="T25" fmla="*/ 815 h 3636"/>
              <a:gd name="T26" fmla="*/ 2299 w 3735"/>
              <a:gd name="T27" fmla="*/ 2405 h 3636"/>
              <a:gd name="T28" fmla="*/ 1981 w 3735"/>
              <a:gd name="T29" fmla="*/ 2240 h 3636"/>
              <a:gd name="T30" fmla="*/ 2114 w 3735"/>
              <a:gd name="T31" fmla="*/ 323 h 3636"/>
              <a:gd name="T32" fmla="*/ 1935 w 3735"/>
              <a:gd name="T33" fmla="*/ 748 h 3636"/>
              <a:gd name="T34" fmla="*/ 1332 w 3735"/>
              <a:gd name="T35" fmla="*/ 1195 h 3636"/>
              <a:gd name="T36" fmla="*/ 1770 w 3735"/>
              <a:gd name="T37" fmla="*/ 2081 h 3636"/>
              <a:gd name="T38" fmla="*/ 1470 w 3735"/>
              <a:gd name="T39" fmla="*/ 1623 h 3636"/>
              <a:gd name="T40" fmla="*/ 1504 w 3735"/>
              <a:gd name="T41" fmla="*/ 2174 h 3636"/>
              <a:gd name="T42" fmla="*/ 1540 w 3735"/>
              <a:gd name="T43" fmla="*/ 2140 h 3636"/>
              <a:gd name="T44" fmla="*/ 1484 w 3735"/>
              <a:gd name="T45" fmla="*/ 2531 h 3636"/>
              <a:gd name="T46" fmla="*/ 1212 w 3735"/>
              <a:gd name="T47" fmla="*/ 2011 h 3636"/>
              <a:gd name="T48" fmla="*/ 1721 w 3735"/>
              <a:gd name="T49" fmla="*/ 2168 h 3636"/>
              <a:gd name="T50" fmla="*/ 1524 w 3735"/>
              <a:gd name="T51" fmla="*/ 2366 h 3636"/>
              <a:gd name="T52" fmla="*/ 3138 w 3735"/>
              <a:gd name="T53" fmla="*/ 1043 h 3636"/>
              <a:gd name="T54" fmla="*/ 3611 w 3735"/>
              <a:gd name="T55" fmla="*/ 2398 h 3636"/>
              <a:gd name="T56" fmla="*/ 3174 w 3735"/>
              <a:gd name="T57" fmla="*/ 953 h 3636"/>
              <a:gd name="T58" fmla="*/ 2898 w 3735"/>
              <a:gd name="T59" fmla="*/ 667 h 3636"/>
              <a:gd name="T60" fmla="*/ 2403 w 3735"/>
              <a:gd name="T61" fmla="*/ 520 h 3636"/>
              <a:gd name="T62" fmla="*/ 1155 w 3735"/>
              <a:gd name="T63" fmla="*/ 282 h 3636"/>
              <a:gd name="T64" fmla="*/ 1060 w 3735"/>
              <a:gd name="T65" fmla="*/ 353 h 3636"/>
              <a:gd name="T66" fmla="*/ 1302 w 3735"/>
              <a:gd name="T67" fmla="*/ 1103 h 3636"/>
              <a:gd name="T68" fmla="*/ 1368 w 3735"/>
              <a:gd name="T69" fmla="*/ 1609 h 3636"/>
              <a:gd name="T70" fmla="*/ 1088 w 3735"/>
              <a:gd name="T71" fmla="*/ 1462 h 3636"/>
              <a:gd name="T72" fmla="*/ 995 w 3735"/>
              <a:gd name="T73" fmla="*/ 1462 h 3636"/>
              <a:gd name="T74" fmla="*/ 798 w 3735"/>
              <a:gd name="T75" fmla="*/ 1265 h 3636"/>
              <a:gd name="T76" fmla="*/ 547 w 3735"/>
              <a:gd name="T77" fmla="*/ 1320 h 3636"/>
              <a:gd name="T78" fmla="*/ 115 w 3735"/>
              <a:gd name="T79" fmla="*/ 1921 h 3636"/>
              <a:gd name="T80" fmla="*/ 626 w 3735"/>
              <a:gd name="T81" fmla="*/ 1694 h 3636"/>
              <a:gd name="T82" fmla="*/ 1145 w 3735"/>
              <a:gd name="T83" fmla="*/ 1945 h 3636"/>
              <a:gd name="T84" fmla="*/ 307 w 3735"/>
              <a:gd name="T85" fmla="*/ 2814 h 3636"/>
              <a:gd name="T86" fmla="*/ 189 w 3735"/>
              <a:gd name="T87" fmla="*/ 3092 h 3636"/>
              <a:gd name="T88" fmla="*/ 386 w 3735"/>
              <a:gd name="T89" fmla="*/ 3289 h 3636"/>
              <a:gd name="T90" fmla="*/ 675 w 3735"/>
              <a:gd name="T91" fmla="*/ 3092 h 3636"/>
              <a:gd name="T92" fmla="*/ 1680 w 3735"/>
              <a:gd name="T93" fmla="*/ 2652 h 3636"/>
              <a:gd name="T94" fmla="*/ 1799 w 3735"/>
              <a:gd name="T95" fmla="*/ 3544 h 3636"/>
              <a:gd name="T96" fmla="*/ 1996 w 3735"/>
              <a:gd name="T97" fmla="*/ 3347 h 3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5" h="3636">
                <a:moveTo>
                  <a:pt x="2354" y="2497"/>
                </a:moveTo>
                <a:cubicBezTo>
                  <a:pt x="3735" y="2490"/>
                  <a:pt x="3735" y="2490"/>
                  <a:pt x="3735" y="2490"/>
                </a:cubicBezTo>
                <a:cubicBezTo>
                  <a:pt x="3291" y="1020"/>
                  <a:pt x="3291" y="1020"/>
                  <a:pt x="3291" y="1020"/>
                </a:cubicBezTo>
                <a:cubicBezTo>
                  <a:pt x="3392" y="975"/>
                  <a:pt x="3463" y="873"/>
                  <a:pt x="3463" y="756"/>
                </a:cubicBezTo>
                <a:cubicBezTo>
                  <a:pt x="3463" y="596"/>
                  <a:pt x="3333" y="466"/>
                  <a:pt x="3174" y="466"/>
                </a:cubicBezTo>
                <a:cubicBezTo>
                  <a:pt x="3079" y="466"/>
                  <a:pt x="2995" y="512"/>
                  <a:pt x="2942" y="583"/>
                </a:cubicBezTo>
                <a:cubicBezTo>
                  <a:pt x="2280" y="0"/>
                  <a:pt x="2280" y="0"/>
                  <a:pt x="2280" y="0"/>
                </a:cubicBezTo>
                <a:cubicBezTo>
                  <a:pt x="923" y="227"/>
                  <a:pt x="923" y="227"/>
                  <a:pt x="923" y="227"/>
                </a:cubicBezTo>
                <a:cubicBezTo>
                  <a:pt x="1224" y="1161"/>
                  <a:pt x="1224" y="1161"/>
                  <a:pt x="1224" y="1161"/>
                </a:cubicBezTo>
                <a:cubicBezTo>
                  <a:pt x="1037" y="1299"/>
                  <a:pt x="1037" y="1299"/>
                  <a:pt x="1037" y="1299"/>
                </a:cubicBezTo>
                <a:cubicBezTo>
                  <a:pt x="985" y="1223"/>
                  <a:pt x="897" y="1173"/>
                  <a:pt x="798" y="1173"/>
                </a:cubicBezTo>
                <a:cubicBezTo>
                  <a:pt x="724" y="1173"/>
                  <a:pt x="656" y="1202"/>
                  <a:pt x="604" y="1248"/>
                </a:cubicBezTo>
                <a:cubicBezTo>
                  <a:pt x="228" y="902"/>
                  <a:pt x="228" y="902"/>
                  <a:pt x="228" y="902"/>
                </a:cubicBezTo>
                <a:cubicBezTo>
                  <a:pt x="0" y="2022"/>
                  <a:pt x="0" y="2022"/>
                  <a:pt x="0" y="2022"/>
                </a:cubicBezTo>
                <a:cubicBezTo>
                  <a:pt x="222" y="2854"/>
                  <a:pt x="222" y="2854"/>
                  <a:pt x="222" y="2854"/>
                </a:cubicBezTo>
                <a:cubicBezTo>
                  <a:pt x="146" y="2906"/>
                  <a:pt x="97" y="2993"/>
                  <a:pt x="97" y="3092"/>
                </a:cubicBezTo>
                <a:cubicBezTo>
                  <a:pt x="97" y="3251"/>
                  <a:pt x="226" y="3381"/>
                  <a:pt x="386" y="3381"/>
                </a:cubicBezTo>
                <a:cubicBezTo>
                  <a:pt x="483" y="3381"/>
                  <a:pt x="569" y="3333"/>
                  <a:pt x="622" y="3259"/>
                </a:cubicBezTo>
                <a:cubicBezTo>
                  <a:pt x="622" y="3260"/>
                  <a:pt x="622" y="3260"/>
                  <a:pt x="622" y="3260"/>
                </a:cubicBezTo>
                <a:cubicBezTo>
                  <a:pt x="1517" y="3408"/>
                  <a:pt x="1517" y="3408"/>
                  <a:pt x="1517" y="3408"/>
                </a:cubicBezTo>
                <a:cubicBezTo>
                  <a:pt x="1545" y="3538"/>
                  <a:pt x="1661" y="3636"/>
                  <a:pt x="1799" y="3636"/>
                </a:cubicBezTo>
                <a:cubicBezTo>
                  <a:pt x="1959" y="3636"/>
                  <a:pt x="2089" y="3507"/>
                  <a:pt x="2089" y="3347"/>
                </a:cubicBezTo>
                <a:cubicBezTo>
                  <a:pt x="2089" y="3268"/>
                  <a:pt x="2057" y="3197"/>
                  <a:pt x="2006" y="3145"/>
                </a:cubicBezTo>
                <a:lnTo>
                  <a:pt x="2354" y="2497"/>
                </a:lnTo>
                <a:close/>
                <a:moveTo>
                  <a:pt x="1931" y="3090"/>
                </a:moveTo>
                <a:cubicBezTo>
                  <a:pt x="1899" y="3074"/>
                  <a:pt x="1865" y="3063"/>
                  <a:pt x="1829" y="3059"/>
                </a:cubicBezTo>
                <a:cubicBezTo>
                  <a:pt x="1776" y="2650"/>
                  <a:pt x="1776" y="2650"/>
                  <a:pt x="1776" y="2650"/>
                </a:cubicBezTo>
                <a:cubicBezTo>
                  <a:pt x="1866" y="2634"/>
                  <a:pt x="1940" y="2576"/>
                  <a:pt x="1984" y="2498"/>
                </a:cubicBezTo>
                <a:cubicBezTo>
                  <a:pt x="1984" y="2499"/>
                  <a:pt x="1984" y="2499"/>
                  <a:pt x="1984" y="2499"/>
                </a:cubicBezTo>
                <a:cubicBezTo>
                  <a:pt x="2252" y="2498"/>
                  <a:pt x="2252" y="2498"/>
                  <a:pt x="2252" y="2498"/>
                </a:cubicBezTo>
                <a:lnTo>
                  <a:pt x="1931" y="3090"/>
                </a:lnTo>
                <a:close/>
                <a:moveTo>
                  <a:pt x="2891" y="815"/>
                </a:moveTo>
                <a:cubicBezTo>
                  <a:pt x="2906" y="888"/>
                  <a:pt x="2949" y="951"/>
                  <a:pt x="3009" y="993"/>
                </a:cubicBezTo>
                <a:cubicBezTo>
                  <a:pt x="1927" y="2163"/>
                  <a:pt x="1927" y="2163"/>
                  <a:pt x="1927" y="2163"/>
                </a:cubicBezTo>
                <a:cubicBezTo>
                  <a:pt x="1907" y="2142"/>
                  <a:pt x="1884" y="2125"/>
                  <a:pt x="1858" y="2111"/>
                </a:cubicBezTo>
                <a:cubicBezTo>
                  <a:pt x="2109" y="809"/>
                  <a:pt x="2109" y="809"/>
                  <a:pt x="2109" y="809"/>
                </a:cubicBezTo>
                <a:cubicBezTo>
                  <a:pt x="2111" y="809"/>
                  <a:pt x="2112" y="809"/>
                  <a:pt x="2114" y="809"/>
                </a:cubicBezTo>
                <a:cubicBezTo>
                  <a:pt x="2198" y="809"/>
                  <a:pt x="2275" y="773"/>
                  <a:pt x="2327" y="714"/>
                </a:cubicBezTo>
                <a:lnTo>
                  <a:pt x="2891" y="815"/>
                </a:lnTo>
                <a:close/>
                <a:moveTo>
                  <a:pt x="1981" y="2240"/>
                </a:moveTo>
                <a:cubicBezTo>
                  <a:pt x="2956" y="1185"/>
                  <a:pt x="2956" y="1185"/>
                  <a:pt x="2956" y="1185"/>
                </a:cubicBezTo>
                <a:cubicBezTo>
                  <a:pt x="2299" y="2405"/>
                  <a:pt x="2299" y="2405"/>
                  <a:pt x="2299" y="2405"/>
                </a:cubicBezTo>
                <a:cubicBezTo>
                  <a:pt x="2007" y="2407"/>
                  <a:pt x="2007" y="2407"/>
                  <a:pt x="2007" y="2407"/>
                </a:cubicBezTo>
                <a:cubicBezTo>
                  <a:pt x="2009" y="2393"/>
                  <a:pt x="2010" y="2380"/>
                  <a:pt x="2010" y="2366"/>
                </a:cubicBezTo>
                <a:cubicBezTo>
                  <a:pt x="2010" y="2321"/>
                  <a:pt x="2000" y="2278"/>
                  <a:pt x="1981" y="2240"/>
                </a:cubicBezTo>
                <a:close/>
                <a:moveTo>
                  <a:pt x="2114" y="717"/>
                </a:moveTo>
                <a:cubicBezTo>
                  <a:pt x="2005" y="717"/>
                  <a:pt x="1917" y="629"/>
                  <a:pt x="1917" y="520"/>
                </a:cubicBezTo>
                <a:cubicBezTo>
                  <a:pt x="1917" y="411"/>
                  <a:pt x="2005" y="323"/>
                  <a:pt x="2114" y="323"/>
                </a:cubicBezTo>
                <a:cubicBezTo>
                  <a:pt x="2222" y="323"/>
                  <a:pt x="2311" y="411"/>
                  <a:pt x="2311" y="520"/>
                </a:cubicBezTo>
                <a:cubicBezTo>
                  <a:pt x="2311" y="629"/>
                  <a:pt x="2222" y="717"/>
                  <a:pt x="2114" y="717"/>
                </a:cubicBezTo>
                <a:close/>
                <a:moveTo>
                  <a:pt x="1935" y="748"/>
                </a:moveTo>
                <a:cubicBezTo>
                  <a:pt x="1937" y="749"/>
                  <a:pt x="1938" y="750"/>
                  <a:pt x="1939" y="751"/>
                </a:cubicBezTo>
                <a:cubicBezTo>
                  <a:pt x="1434" y="1511"/>
                  <a:pt x="1434" y="1511"/>
                  <a:pt x="1434" y="1511"/>
                </a:cubicBezTo>
                <a:cubicBezTo>
                  <a:pt x="1332" y="1195"/>
                  <a:pt x="1332" y="1195"/>
                  <a:pt x="1332" y="1195"/>
                </a:cubicBezTo>
                <a:lnTo>
                  <a:pt x="1935" y="748"/>
                </a:lnTo>
                <a:close/>
                <a:moveTo>
                  <a:pt x="2017" y="801"/>
                </a:moveTo>
                <a:cubicBezTo>
                  <a:pt x="1770" y="2081"/>
                  <a:pt x="1770" y="2081"/>
                  <a:pt x="1770" y="2081"/>
                </a:cubicBezTo>
                <a:cubicBezTo>
                  <a:pt x="1754" y="2078"/>
                  <a:pt x="1738" y="2076"/>
                  <a:pt x="1721" y="2076"/>
                </a:cubicBezTo>
                <a:cubicBezTo>
                  <a:pt x="1686" y="2076"/>
                  <a:pt x="1653" y="2083"/>
                  <a:pt x="1622" y="2094"/>
                </a:cubicBezTo>
                <a:cubicBezTo>
                  <a:pt x="1470" y="1623"/>
                  <a:pt x="1470" y="1623"/>
                  <a:pt x="1470" y="1623"/>
                </a:cubicBezTo>
                <a:lnTo>
                  <a:pt x="2017" y="801"/>
                </a:lnTo>
                <a:close/>
                <a:moveTo>
                  <a:pt x="1540" y="2140"/>
                </a:moveTo>
                <a:cubicBezTo>
                  <a:pt x="1527" y="2151"/>
                  <a:pt x="1515" y="2162"/>
                  <a:pt x="1504" y="2174"/>
                </a:cubicBezTo>
                <a:cubicBezTo>
                  <a:pt x="1264" y="1933"/>
                  <a:pt x="1264" y="1933"/>
                  <a:pt x="1264" y="1933"/>
                </a:cubicBezTo>
                <a:cubicBezTo>
                  <a:pt x="1404" y="1721"/>
                  <a:pt x="1404" y="1721"/>
                  <a:pt x="1404" y="1721"/>
                </a:cubicBezTo>
                <a:lnTo>
                  <a:pt x="1540" y="2140"/>
                </a:lnTo>
                <a:close/>
                <a:moveTo>
                  <a:pt x="1454" y="2254"/>
                </a:moveTo>
                <a:cubicBezTo>
                  <a:pt x="1440" y="2289"/>
                  <a:pt x="1432" y="2326"/>
                  <a:pt x="1432" y="2366"/>
                </a:cubicBezTo>
                <a:cubicBezTo>
                  <a:pt x="1432" y="2427"/>
                  <a:pt x="1451" y="2484"/>
                  <a:pt x="1484" y="2531"/>
                </a:cubicBezTo>
                <a:cubicBezTo>
                  <a:pt x="651" y="2976"/>
                  <a:pt x="651" y="2976"/>
                  <a:pt x="651" y="2976"/>
                </a:cubicBezTo>
                <a:cubicBezTo>
                  <a:pt x="641" y="2953"/>
                  <a:pt x="628" y="2932"/>
                  <a:pt x="612" y="2912"/>
                </a:cubicBezTo>
                <a:cubicBezTo>
                  <a:pt x="1212" y="2011"/>
                  <a:pt x="1212" y="2011"/>
                  <a:pt x="1212" y="2011"/>
                </a:cubicBezTo>
                <a:lnTo>
                  <a:pt x="1454" y="2254"/>
                </a:lnTo>
                <a:close/>
                <a:moveTo>
                  <a:pt x="1524" y="2366"/>
                </a:moveTo>
                <a:cubicBezTo>
                  <a:pt x="1524" y="2257"/>
                  <a:pt x="1612" y="2168"/>
                  <a:pt x="1721" y="2168"/>
                </a:cubicBezTo>
                <a:cubicBezTo>
                  <a:pt x="1830" y="2168"/>
                  <a:pt x="1918" y="2257"/>
                  <a:pt x="1918" y="2366"/>
                </a:cubicBezTo>
                <a:cubicBezTo>
                  <a:pt x="1918" y="2474"/>
                  <a:pt x="1830" y="2563"/>
                  <a:pt x="1721" y="2563"/>
                </a:cubicBezTo>
                <a:cubicBezTo>
                  <a:pt x="1612" y="2563"/>
                  <a:pt x="1524" y="2474"/>
                  <a:pt x="1524" y="2366"/>
                </a:cubicBezTo>
                <a:close/>
                <a:moveTo>
                  <a:pt x="3611" y="2398"/>
                </a:moveTo>
                <a:cubicBezTo>
                  <a:pt x="2404" y="2405"/>
                  <a:pt x="2404" y="2405"/>
                  <a:pt x="2404" y="2405"/>
                </a:cubicBezTo>
                <a:cubicBezTo>
                  <a:pt x="3138" y="1043"/>
                  <a:pt x="3138" y="1043"/>
                  <a:pt x="3138" y="1043"/>
                </a:cubicBezTo>
                <a:cubicBezTo>
                  <a:pt x="3150" y="1044"/>
                  <a:pt x="3162" y="1045"/>
                  <a:pt x="3174" y="1045"/>
                </a:cubicBezTo>
                <a:cubicBezTo>
                  <a:pt x="3183" y="1045"/>
                  <a:pt x="3192" y="1044"/>
                  <a:pt x="3202" y="1044"/>
                </a:cubicBezTo>
                <a:lnTo>
                  <a:pt x="3611" y="2398"/>
                </a:lnTo>
                <a:close/>
                <a:moveTo>
                  <a:pt x="3174" y="559"/>
                </a:moveTo>
                <a:cubicBezTo>
                  <a:pt x="3282" y="559"/>
                  <a:pt x="3371" y="647"/>
                  <a:pt x="3371" y="756"/>
                </a:cubicBezTo>
                <a:cubicBezTo>
                  <a:pt x="3371" y="864"/>
                  <a:pt x="3282" y="953"/>
                  <a:pt x="3174" y="953"/>
                </a:cubicBezTo>
                <a:cubicBezTo>
                  <a:pt x="3065" y="953"/>
                  <a:pt x="2977" y="864"/>
                  <a:pt x="2977" y="756"/>
                </a:cubicBezTo>
                <a:cubicBezTo>
                  <a:pt x="2977" y="647"/>
                  <a:pt x="3065" y="559"/>
                  <a:pt x="3174" y="559"/>
                </a:cubicBezTo>
                <a:close/>
                <a:moveTo>
                  <a:pt x="2898" y="667"/>
                </a:moveTo>
                <a:cubicBezTo>
                  <a:pt x="2893" y="684"/>
                  <a:pt x="2889" y="702"/>
                  <a:pt x="2887" y="721"/>
                </a:cubicBezTo>
                <a:cubicBezTo>
                  <a:pt x="2381" y="630"/>
                  <a:pt x="2381" y="630"/>
                  <a:pt x="2381" y="630"/>
                </a:cubicBezTo>
                <a:cubicBezTo>
                  <a:pt x="2395" y="596"/>
                  <a:pt x="2403" y="559"/>
                  <a:pt x="2403" y="520"/>
                </a:cubicBezTo>
                <a:cubicBezTo>
                  <a:pt x="2403" y="361"/>
                  <a:pt x="2273" y="231"/>
                  <a:pt x="2114" y="231"/>
                </a:cubicBezTo>
                <a:cubicBezTo>
                  <a:pt x="1976" y="231"/>
                  <a:pt x="1861" y="327"/>
                  <a:pt x="1832" y="456"/>
                </a:cubicBezTo>
                <a:cubicBezTo>
                  <a:pt x="1155" y="282"/>
                  <a:pt x="1155" y="282"/>
                  <a:pt x="1155" y="282"/>
                </a:cubicBezTo>
                <a:cubicBezTo>
                  <a:pt x="2252" y="98"/>
                  <a:pt x="2252" y="98"/>
                  <a:pt x="2252" y="98"/>
                </a:cubicBezTo>
                <a:lnTo>
                  <a:pt x="2898" y="667"/>
                </a:lnTo>
                <a:close/>
                <a:moveTo>
                  <a:pt x="1060" y="353"/>
                </a:moveTo>
                <a:cubicBezTo>
                  <a:pt x="1826" y="550"/>
                  <a:pt x="1826" y="550"/>
                  <a:pt x="1826" y="550"/>
                </a:cubicBezTo>
                <a:cubicBezTo>
                  <a:pt x="1831" y="598"/>
                  <a:pt x="1847" y="642"/>
                  <a:pt x="1872" y="680"/>
                </a:cubicBezTo>
                <a:cubicBezTo>
                  <a:pt x="1302" y="1103"/>
                  <a:pt x="1302" y="1103"/>
                  <a:pt x="1302" y="1103"/>
                </a:cubicBezTo>
                <a:lnTo>
                  <a:pt x="1060" y="353"/>
                </a:lnTo>
                <a:close/>
                <a:moveTo>
                  <a:pt x="1254" y="1254"/>
                </a:moveTo>
                <a:cubicBezTo>
                  <a:pt x="1368" y="1609"/>
                  <a:pt x="1368" y="1609"/>
                  <a:pt x="1368" y="1609"/>
                </a:cubicBezTo>
                <a:cubicBezTo>
                  <a:pt x="1197" y="1866"/>
                  <a:pt x="1197" y="1866"/>
                  <a:pt x="1197" y="1866"/>
                </a:cubicBezTo>
                <a:cubicBezTo>
                  <a:pt x="1001" y="1669"/>
                  <a:pt x="1001" y="1669"/>
                  <a:pt x="1001" y="1669"/>
                </a:cubicBezTo>
                <a:cubicBezTo>
                  <a:pt x="1054" y="1616"/>
                  <a:pt x="1088" y="1543"/>
                  <a:pt x="1088" y="1462"/>
                </a:cubicBezTo>
                <a:cubicBezTo>
                  <a:pt x="1088" y="1436"/>
                  <a:pt x="1084" y="1410"/>
                  <a:pt x="1077" y="1385"/>
                </a:cubicBezTo>
                <a:lnTo>
                  <a:pt x="1254" y="1254"/>
                </a:lnTo>
                <a:close/>
                <a:moveTo>
                  <a:pt x="995" y="1462"/>
                </a:moveTo>
                <a:cubicBezTo>
                  <a:pt x="995" y="1571"/>
                  <a:pt x="907" y="1659"/>
                  <a:pt x="798" y="1659"/>
                </a:cubicBezTo>
                <a:cubicBezTo>
                  <a:pt x="690" y="1659"/>
                  <a:pt x="601" y="1571"/>
                  <a:pt x="601" y="1462"/>
                </a:cubicBezTo>
                <a:cubicBezTo>
                  <a:pt x="601" y="1354"/>
                  <a:pt x="690" y="1265"/>
                  <a:pt x="798" y="1265"/>
                </a:cubicBezTo>
                <a:cubicBezTo>
                  <a:pt x="907" y="1265"/>
                  <a:pt x="995" y="1354"/>
                  <a:pt x="995" y="1462"/>
                </a:cubicBezTo>
                <a:close/>
                <a:moveTo>
                  <a:pt x="286" y="1081"/>
                </a:moveTo>
                <a:cubicBezTo>
                  <a:pt x="547" y="1320"/>
                  <a:pt x="547" y="1320"/>
                  <a:pt x="547" y="1320"/>
                </a:cubicBezTo>
                <a:cubicBezTo>
                  <a:pt x="523" y="1362"/>
                  <a:pt x="509" y="1411"/>
                  <a:pt x="509" y="1462"/>
                </a:cubicBezTo>
                <a:cubicBezTo>
                  <a:pt x="509" y="1524"/>
                  <a:pt x="528" y="1580"/>
                  <a:pt x="561" y="1627"/>
                </a:cubicBezTo>
                <a:cubicBezTo>
                  <a:pt x="115" y="1921"/>
                  <a:pt x="115" y="1921"/>
                  <a:pt x="115" y="1921"/>
                </a:cubicBezTo>
                <a:lnTo>
                  <a:pt x="286" y="1081"/>
                </a:lnTo>
                <a:close/>
                <a:moveTo>
                  <a:pt x="101" y="2041"/>
                </a:moveTo>
                <a:cubicBezTo>
                  <a:pt x="626" y="1694"/>
                  <a:pt x="626" y="1694"/>
                  <a:pt x="626" y="1694"/>
                </a:cubicBezTo>
                <a:cubicBezTo>
                  <a:pt x="674" y="1730"/>
                  <a:pt x="734" y="1752"/>
                  <a:pt x="798" y="1752"/>
                </a:cubicBezTo>
                <a:cubicBezTo>
                  <a:pt x="843" y="1752"/>
                  <a:pt x="886" y="1741"/>
                  <a:pt x="924" y="1723"/>
                </a:cubicBezTo>
                <a:cubicBezTo>
                  <a:pt x="1145" y="1945"/>
                  <a:pt x="1145" y="1945"/>
                  <a:pt x="1145" y="1945"/>
                </a:cubicBezTo>
                <a:cubicBezTo>
                  <a:pt x="543" y="2849"/>
                  <a:pt x="543" y="2849"/>
                  <a:pt x="543" y="2849"/>
                </a:cubicBezTo>
                <a:cubicBezTo>
                  <a:pt x="498" y="2820"/>
                  <a:pt x="444" y="2803"/>
                  <a:pt x="386" y="2803"/>
                </a:cubicBezTo>
                <a:cubicBezTo>
                  <a:pt x="359" y="2803"/>
                  <a:pt x="332" y="2807"/>
                  <a:pt x="307" y="2814"/>
                </a:cubicBezTo>
                <a:lnTo>
                  <a:pt x="101" y="2041"/>
                </a:lnTo>
                <a:close/>
                <a:moveTo>
                  <a:pt x="386" y="3289"/>
                </a:moveTo>
                <a:cubicBezTo>
                  <a:pt x="277" y="3289"/>
                  <a:pt x="189" y="3201"/>
                  <a:pt x="189" y="3092"/>
                </a:cubicBezTo>
                <a:cubicBezTo>
                  <a:pt x="189" y="2983"/>
                  <a:pt x="277" y="2895"/>
                  <a:pt x="386" y="2895"/>
                </a:cubicBezTo>
                <a:cubicBezTo>
                  <a:pt x="495" y="2895"/>
                  <a:pt x="583" y="2983"/>
                  <a:pt x="583" y="3092"/>
                </a:cubicBezTo>
                <a:cubicBezTo>
                  <a:pt x="583" y="3201"/>
                  <a:pt x="495" y="3289"/>
                  <a:pt x="386" y="3289"/>
                </a:cubicBezTo>
                <a:close/>
                <a:moveTo>
                  <a:pt x="1512" y="3313"/>
                </a:moveTo>
                <a:cubicBezTo>
                  <a:pt x="663" y="3173"/>
                  <a:pt x="663" y="3173"/>
                  <a:pt x="663" y="3173"/>
                </a:cubicBezTo>
                <a:cubicBezTo>
                  <a:pt x="671" y="3147"/>
                  <a:pt x="675" y="3120"/>
                  <a:pt x="675" y="3092"/>
                </a:cubicBezTo>
                <a:cubicBezTo>
                  <a:pt x="675" y="3084"/>
                  <a:pt x="675" y="3076"/>
                  <a:pt x="674" y="3068"/>
                </a:cubicBezTo>
                <a:cubicBezTo>
                  <a:pt x="1551" y="2599"/>
                  <a:pt x="1551" y="2599"/>
                  <a:pt x="1551" y="2599"/>
                </a:cubicBezTo>
                <a:cubicBezTo>
                  <a:pt x="1589" y="2627"/>
                  <a:pt x="1633" y="2645"/>
                  <a:pt x="1680" y="2652"/>
                </a:cubicBezTo>
                <a:cubicBezTo>
                  <a:pt x="1736" y="3065"/>
                  <a:pt x="1736" y="3065"/>
                  <a:pt x="1736" y="3065"/>
                </a:cubicBezTo>
                <a:cubicBezTo>
                  <a:pt x="1618" y="3092"/>
                  <a:pt x="1527" y="3191"/>
                  <a:pt x="1512" y="3313"/>
                </a:cubicBezTo>
                <a:close/>
                <a:moveTo>
                  <a:pt x="1799" y="3544"/>
                </a:moveTo>
                <a:cubicBezTo>
                  <a:pt x="1691" y="3544"/>
                  <a:pt x="1602" y="3456"/>
                  <a:pt x="1602" y="3347"/>
                </a:cubicBezTo>
                <a:cubicBezTo>
                  <a:pt x="1602" y="3238"/>
                  <a:pt x="1691" y="3150"/>
                  <a:pt x="1799" y="3150"/>
                </a:cubicBezTo>
                <a:cubicBezTo>
                  <a:pt x="1908" y="3150"/>
                  <a:pt x="1996" y="3238"/>
                  <a:pt x="1996" y="3347"/>
                </a:cubicBezTo>
                <a:cubicBezTo>
                  <a:pt x="1996" y="3456"/>
                  <a:pt x="1908" y="3544"/>
                  <a:pt x="1799" y="35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9"/>
          <p:cNvSpPr>
            <a:spLocks noEditPoints="1"/>
          </p:cNvSpPr>
          <p:nvPr/>
        </p:nvSpPr>
        <p:spPr bwMode="auto">
          <a:xfrm>
            <a:off x="4759212" y="1393360"/>
            <a:ext cx="458953" cy="529391"/>
          </a:xfrm>
          <a:custGeom>
            <a:avLst/>
            <a:gdLst>
              <a:gd name="T0" fmla="*/ 7612 w 7643"/>
              <a:gd name="T1" fmla="*/ 2230 h 8816"/>
              <a:gd name="T2" fmla="*/ 3848 w 7643"/>
              <a:gd name="T3" fmla="*/ 0 h 8816"/>
              <a:gd name="T4" fmla="*/ 0 w 7643"/>
              <a:gd name="T5" fmla="*/ 2204 h 8816"/>
              <a:gd name="T6" fmla="*/ 0 w 7643"/>
              <a:gd name="T7" fmla="*/ 6615 h 8816"/>
              <a:gd name="T8" fmla="*/ 3867 w 7643"/>
              <a:gd name="T9" fmla="*/ 8816 h 8816"/>
              <a:gd name="T10" fmla="*/ 7643 w 7643"/>
              <a:gd name="T11" fmla="*/ 6612 h 8816"/>
              <a:gd name="T12" fmla="*/ 7612 w 7643"/>
              <a:gd name="T13" fmla="*/ 2230 h 8816"/>
              <a:gd name="T14" fmla="*/ 7288 w 7643"/>
              <a:gd name="T15" fmla="*/ 2291 h 8816"/>
              <a:gd name="T16" fmla="*/ 3877 w 7643"/>
              <a:gd name="T17" fmla="*/ 4283 h 8816"/>
              <a:gd name="T18" fmla="*/ 357 w 7643"/>
              <a:gd name="T19" fmla="*/ 2251 h 8816"/>
              <a:gd name="T20" fmla="*/ 3848 w 7643"/>
              <a:gd name="T21" fmla="*/ 253 h 8816"/>
              <a:gd name="T22" fmla="*/ 7288 w 7643"/>
              <a:gd name="T23" fmla="*/ 2291 h 8816"/>
              <a:gd name="T24" fmla="*/ 217 w 7643"/>
              <a:gd name="T25" fmla="*/ 2424 h 8816"/>
              <a:gd name="T26" fmla="*/ 3763 w 7643"/>
              <a:gd name="T27" fmla="*/ 4472 h 8816"/>
              <a:gd name="T28" fmla="*/ 3763 w 7643"/>
              <a:gd name="T29" fmla="*/ 8509 h 8816"/>
              <a:gd name="T30" fmla="*/ 217 w 7643"/>
              <a:gd name="T31" fmla="*/ 6487 h 8816"/>
              <a:gd name="T32" fmla="*/ 217 w 7643"/>
              <a:gd name="T33" fmla="*/ 2424 h 8816"/>
              <a:gd name="T34" fmla="*/ 3981 w 7643"/>
              <a:gd name="T35" fmla="*/ 8497 h 8816"/>
              <a:gd name="T36" fmla="*/ 3981 w 7643"/>
              <a:gd name="T37" fmla="*/ 4472 h 8816"/>
              <a:gd name="T38" fmla="*/ 7392 w 7643"/>
              <a:gd name="T39" fmla="*/ 2480 h 8816"/>
              <a:gd name="T40" fmla="*/ 7421 w 7643"/>
              <a:gd name="T41" fmla="*/ 6487 h 8816"/>
              <a:gd name="T42" fmla="*/ 3981 w 7643"/>
              <a:gd name="T43" fmla="*/ 8497 h 8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43" h="8816">
                <a:moveTo>
                  <a:pt x="7612" y="2230"/>
                </a:moveTo>
                <a:lnTo>
                  <a:pt x="3848" y="0"/>
                </a:lnTo>
                <a:lnTo>
                  <a:pt x="0" y="2204"/>
                </a:lnTo>
                <a:lnTo>
                  <a:pt x="0" y="6615"/>
                </a:lnTo>
                <a:lnTo>
                  <a:pt x="3867" y="8816"/>
                </a:lnTo>
                <a:lnTo>
                  <a:pt x="7643" y="6612"/>
                </a:lnTo>
                <a:lnTo>
                  <a:pt x="7612" y="2230"/>
                </a:lnTo>
                <a:close/>
                <a:moveTo>
                  <a:pt x="7288" y="2291"/>
                </a:moveTo>
                <a:lnTo>
                  <a:pt x="3877" y="4283"/>
                </a:lnTo>
                <a:lnTo>
                  <a:pt x="357" y="2251"/>
                </a:lnTo>
                <a:lnTo>
                  <a:pt x="3848" y="253"/>
                </a:lnTo>
                <a:lnTo>
                  <a:pt x="7288" y="2291"/>
                </a:lnTo>
                <a:close/>
                <a:moveTo>
                  <a:pt x="217" y="2424"/>
                </a:moveTo>
                <a:lnTo>
                  <a:pt x="3763" y="4472"/>
                </a:lnTo>
                <a:lnTo>
                  <a:pt x="3763" y="8509"/>
                </a:lnTo>
                <a:lnTo>
                  <a:pt x="217" y="6487"/>
                </a:lnTo>
                <a:lnTo>
                  <a:pt x="217" y="2424"/>
                </a:lnTo>
                <a:close/>
                <a:moveTo>
                  <a:pt x="3981" y="8497"/>
                </a:moveTo>
                <a:lnTo>
                  <a:pt x="3981" y="4472"/>
                </a:lnTo>
                <a:lnTo>
                  <a:pt x="7392" y="2480"/>
                </a:lnTo>
                <a:lnTo>
                  <a:pt x="7421" y="6487"/>
                </a:lnTo>
                <a:lnTo>
                  <a:pt x="3981" y="84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10"/>
          <p:cNvSpPr>
            <a:spLocks noEditPoints="1"/>
          </p:cNvSpPr>
          <p:nvPr/>
        </p:nvSpPr>
        <p:spPr bwMode="auto">
          <a:xfrm>
            <a:off x="4759212" y="4337555"/>
            <a:ext cx="455410" cy="415358"/>
          </a:xfrm>
          <a:custGeom>
            <a:avLst/>
            <a:gdLst>
              <a:gd name="T0" fmla="*/ 0 w 3208"/>
              <a:gd name="T1" fmla="*/ 618 h 2928"/>
              <a:gd name="T2" fmla="*/ 3208 w 3208"/>
              <a:gd name="T3" fmla="*/ 2928 h 2928"/>
              <a:gd name="T4" fmla="*/ 3208 w 3208"/>
              <a:gd name="T5" fmla="*/ 0 h 2928"/>
              <a:gd name="T6" fmla="*/ 92 w 3208"/>
              <a:gd name="T7" fmla="*/ 92 h 2928"/>
              <a:gd name="T8" fmla="*/ 3116 w 3208"/>
              <a:gd name="T9" fmla="*/ 528 h 2928"/>
              <a:gd name="T10" fmla="*/ 92 w 3208"/>
              <a:gd name="T11" fmla="*/ 92 h 2928"/>
              <a:gd name="T12" fmla="*/ 92 w 3208"/>
              <a:gd name="T13" fmla="*/ 2836 h 2928"/>
              <a:gd name="T14" fmla="*/ 3116 w 3208"/>
              <a:gd name="T15" fmla="*/ 620 h 2928"/>
              <a:gd name="T16" fmla="*/ 3012 w 3208"/>
              <a:gd name="T17" fmla="*/ 245 h 2928"/>
              <a:gd name="T18" fmla="*/ 3012 w 3208"/>
              <a:gd name="T19" fmla="*/ 403 h 2928"/>
              <a:gd name="T20" fmla="*/ 2868 w 3208"/>
              <a:gd name="T21" fmla="*/ 389 h 2928"/>
              <a:gd name="T22" fmla="*/ 2724 w 3208"/>
              <a:gd name="T23" fmla="*/ 403 h 2928"/>
              <a:gd name="T24" fmla="*/ 2724 w 3208"/>
              <a:gd name="T25" fmla="*/ 245 h 2928"/>
              <a:gd name="T26" fmla="*/ 2868 w 3208"/>
              <a:gd name="T27" fmla="*/ 259 h 2928"/>
              <a:gd name="T28" fmla="*/ 3012 w 3208"/>
              <a:gd name="T29" fmla="*/ 245 h 2928"/>
              <a:gd name="T30" fmla="*/ 2284 w 3208"/>
              <a:gd name="T31" fmla="*/ 368 h 2928"/>
              <a:gd name="T32" fmla="*/ 2032 w 3208"/>
              <a:gd name="T33" fmla="*/ 460 h 2928"/>
              <a:gd name="T34" fmla="*/ 2352 w 3208"/>
              <a:gd name="T35" fmla="*/ 460 h 2928"/>
              <a:gd name="T36" fmla="*/ 2652 w 3208"/>
              <a:gd name="T37" fmla="*/ 184 h 2928"/>
              <a:gd name="T38" fmla="*/ 2352 w 3208"/>
              <a:gd name="T39" fmla="*/ 460 h 2928"/>
              <a:gd name="T40" fmla="*/ 2560 w 3208"/>
              <a:gd name="T41" fmla="*/ 276 h 2928"/>
              <a:gd name="T42" fmla="*/ 2444 w 3208"/>
              <a:gd name="T43" fmla="*/ 368 h 2928"/>
              <a:gd name="T44" fmla="*/ 1575 w 3208"/>
              <a:gd name="T45" fmla="*/ 2572 h 2928"/>
              <a:gd name="T46" fmla="*/ 2216 w 3208"/>
              <a:gd name="T47" fmla="*/ 1497 h 2928"/>
              <a:gd name="T48" fmla="*/ 1568 w 3208"/>
              <a:gd name="T49" fmla="*/ 1802 h 2928"/>
              <a:gd name="T50" fmla="*/ 1520 w 3208"/>
              <a:gd name="T51" fmla="*/ 1107 h 2928"/>
              <a:gd name="T52" fmla="*/ 1575 w 3208"/>
              <a:gd name="T53" fmla="*/ 2572 h 2928"/>
              <a:gd name="T54" fmla="*/ 1476 w 3208"/>
              <a:gd name="T55" fmla="*/ 1959 h 2928"/>
              <a:gd name="T56" fmla="*/ 2212 w 3208"/>
              <a:gd name="T57" fmla="*/ 1839 h 2928"/>
              <a:gd name="T58" fmla="*/ 926 w 3208"/>
              <a:gd name="T59" fmla="*/ 1839 h 2928"/>
              <a:gd name="T60" fmla="*/ 2420 w 3208"/>
              <a:gd name="T61" fmla="*/ 1177 h 2928"/>
              <a:gd name="T62" fmla="*/ 1706 w 3208"/>
              <a:gd name="T63" fmla="*/ 776 h 2928"/>
              <a:gd name="T64" fmla="*/ 1660 w 3208"/>
              <a:gd name="T65" fmla="*/ 1647 h 2928"/>
              <a:gd name="T66" fmla="*/ 2420 w 3208"/>
              <a:gd name="T67" fmla="*/ 1177 h 2928"/>
              <a:gd name="T68" fmla="*/ 1752 w 3208"/>
              <a:gd name="T69" fmla="*/ 876 h 2928"/>
              <a:gd name="T70" fmla="*/ 2315 w 3208"/>
              <a:gd name="T71" fmla="*/ 1184 h 2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8" h="2928">
                <a:moveTo>
                  <a:pt x="0" y="0"/>
                </a:moveTo>
                <a:cubicBezTo>
                  <a:pt x="0" y="618"/>
                  <a:pt x="0" y="618"/>
                  <a:pt x="0" y="618"/>
                </a:cubicBezTo>
                <a:cubicBezTo>
                  <a:pt x="0" y="2928"/>
                  <a:pt x="0" y="2928"/>
                  <a:pt x="0" y="2928"/>
                </a:cubicBezTo>
                <a:cubicBezTo>
                  <a:pt x="3208" y="2928"/>
                  <a:pt x="3208" y="2928"/>
                  <a:pt x="3208" y="2928"/>
                </a:cubicBezTo>
                <a:cubicBezTo>
                  <a:pt x="3208" y="618"/>
                  <a:pt x="3208" y="618"/>
                  <a:pt x="3208" y="618"/>
                </a:cubicBezTo>
                <a:cubicBezTo>
                  <a:pt x="3208" y="0"/>
                  <a:pt x="3208" y="0"/>
                  <a:pt x="3208" y="0"/>
                </a:cubicBezTo>
                <a:lnTo>
                  <a:pt x="0" y="0"/>
                </a:lnTo>
                <a:close/>
                <a:moveTo>
                  <a:pt x="92" y="92"/>
                </a:moveTo>
                <a:cubicBezTo>
                  <a:pt x="3116" y="92"/>
                  <a:pt x="3116" y="92"/>
                  <a:pt x="3116" y="92"/>
                </a:cubicBezTo>
                <a:cubicBezTo>
                  <a:pt x="3116" y="528"/>
                  <a:pt x="3116" y="528"/>
                  <a:pt x="3116" y="528"/>
                </a:cubicBezTo>
                <a:cubicBezTo>
                  <a:pt x="92" y="528"/>
                  <a:pt x="92" y="528"/>
                  <a:pt x="92" y="528"/>
                </a:cubicBezTo>
                <a:lnTo>
                  <a:pt x="92" y="92"/>
                </a:lnTo>
                <a:close/>
                <a:moveTo>
                  <a:pt x="3116" y="2836"/>
                </a:moveTo>
                <a:cubicBezTo>
                  <a:pt x="92" y="2836"/>
                  <a:pt x="92" y="2836"/>
                  <a:pt x="92" y="2836"/>
                </a:cubicBezTo>
                <a:cubicBezTo>
                  <a:pt x="92" y="620"/>
                  <a:pt x="92" y="620"/>
                  <a:pt x="92" y="620"/>
                </a:cubicBezTo>
                <a:cubicBezTo>
                  <a:pt x="3116" y="620"/>
                  <a:pt x="3116" y="620"/>
                  <a:pt x="3116" y="620"/>
                </a:cubicBezTo>
                <a:lnTo>
                  <a:pt x="3116" y="2836"/>
                </a:lnTo>
                <a:close/>
                <a:moveTo>
                  <a:pt x="3012" y="245"/>
                </a:moveTo>
                <a:cubicBezTo>
                  <a:pt x="2933" y="324"/>
                  <a:pt x="2933" y="324"/>
                  <a:pt x="2933" y="324"/>
                </a:cubicBezTo>
                <a:cubicBezTo>
                  <a:pt x="3012" y="403"/>
                  <a:pt x="3012" y="403"/>
                  <a:pt x="3012" y="403"/>
                </a:cubicBezTo>
                <a:cubicBezTo>
                  <a:pt x="2947" y="468"/>
                  <a:pt x="2947" y="468"/>
                  <a:pt x="2947" y="468"/>
                </a:cubicBezTo>
                <a:cubicBezTo>
                  <a:pt x="2868" y="389"/>
                  <a:pt x="2868" y="389"/>
                  <a:pt x="2868" y="389"/>
                </a:cubicBezTo>
                <a:cubicBezTo>
                  <a:pt x="2789" y="468"/>
                  <a:pt x="2789" y="468"/>
                  <a:pt x="2789" y="468"/>
                </a:cubicBezTo>
                <a:cubicBezTo>
                  <a:pt x="2724" y="403"/>
                  <a:pt x="2724" y="403"/>
                  <a:pt x="2724" y="403"/>
                </a:cubicBezTo>
                <a:cubicBezTo>
                  <a:pt x="2803" y="324"/>
                  <a:pt x="2803" y="324"/>
                  <a:pt x="2803" y="324"/>
                </a:cubicBezTo>
                <a:cubicBezTo>
                  <a:pt x="2724" y="245"/>
                  <a:pt x="2724" y="245"/>
                  <a:pt x="2724" y="245"/>
                </a:cubicBezTo>
                <a:cubicBezTo>
                  <a:pt x="2789" y="180"/>
                  <a:pt x="2789" y="180"/>
                  <a:pt x="2789" y="180"/>
                </a:cubicBezTo>
                <a:cubicBezTo>
                  <a:pt x="2868" y="259"/>
                  <a:pt x="2868" y="259"/>
                  <a:pt x="2868" y="259"/>
                </a:cubicBezTo>
                <a:cubicBezTo>
                  <a:pt x="2947" y="180"/>
                  <a:pt x="2947" y="180"/>
                  <a:pt x="2947" y="180"/>
                </a:cubicBezTo>
                <a:lnTo>
                  <a:pt x="3012" y="245"/>
                </a:lnTo>
                <a:close/>
                <a:moveTo>
                  <a:pt x="2032" y="368"/>
                </a:moveTo>
                <a:cubicBezTo>
                  <a:pt x="2284" y="368"/>
                  <a:pt x="2284" y="368"/>
                  <a:pt x="2284" y="368"/>
                </a:cubicBezTo>
                <a:cubicBezTo>
                  <a:pt x="2284" y="460"/>
                  <a:pt x="2284" y="460"/>
                  <a:pt x="2284" y="460"/>
                </a:cubicBezTo>
                <a:cubicBezTo>
                  <a:pt x="2032" y="460"/>
                  <a:pt x="2032" y="460"/>
                  <a:pt x="2032" y="460"/>
                </a:cubicBezTo>
                <a:lnTo>
                  <a:pt x="2032" y="368"/>
                </a:lnTo>
                <a:close/>
                <a:moveTo>
                  <a:pt x="2352" y="460"/>
                </a:moveTo>
                <a:cubicBezTo>
                  <a:pt x="2652" y="460"/>
                  <a:pt x="2652" y="460"/>
                  <a:pt x="2652" y="460"/>
                </a:cubicBezTo>
                <a:cubicBezTo>
                  <a:pt x="2652" y="184"/>
                  <a:pt x="2652" y="184"/>
                  <a:pt x="2652" y="184"/>
                </a:cubicBezTo>
                <a:cubicBezTo>
                  <a:pt x="2352" y="184"/>
                  <a:pt x="2352" y="184"/>
                  <a:pt x="2352" y="184"/>
                </a:cubicBezTo>
                <a:lnTo>
                  <a:pt x="2352" y="460"/>
                </a:lnTo>
                <a:close/>
                <a:moveTo>
                  <a:pt x="2444" y="276"/>
                </a:moveTo>
                <a:cubicBezTo>
                  <a:pt x="2560" y="276"/>
                  <a:pt x="2560" y="276"/>
                  <a:pt x="2560" y="276"/>
                </a:cubicBezTo>
                <a:cubicBezTo>
                  <a:pt x="2560" y="368"/>
                  <a:pt x="2560" y="368"/>
                  <a:pt x="2560" y="368"/>
                </a:cubicBezTo>
                <a:cubicBezTo>
                  <a:pt x="2444" y="368"/>
                  <a:pt x="2444" y="368"/>
                  <a:pt x="2444" y="368"/>
                </a:cubicBezTo>
                <a:lnTo>
                  <a:pt x="2444" y="276"/>
                </a:lnTo>
                <a:close/>
                <a:moveTo>
                  <a:pt x="1575" y="2572"/>
                </a:moveTo>
                <a:cubicBezTo>
                  <a:pt x="1977" y="2572"/>
                  <a:pt x="2305" y="2243"/>
                  <a:pt x="2305" y="1839"/>
                </a:cubicBezTo>
                <a:cubicBezTo>
                  <a:pt x="2305" y="1723"/>
                  <a:pt x="2275" y="1608"/>
                  <a:pt x="2216" y="1497"/>
                </a:cubicBezTo>
                <a:cubicBezTo>
                  <a:pt x="2194" y="1456"/>
                  <a:pt x="2194" y="1456"/>
                  <a:pt x="2194" y="1456"/>
                </a:cubicBezTo>
                <a:cubicBezTo>
                  <a:pt x="1568" y="1802"/>
                  <a:pt x="1568" y="1802"/>
                  <a:pt x="1568" y="1802"/>
                </a:cubicBezTo>
                <a:cubicBezTo>
                  <a:pt x="1568" y="1105"/>
                  <a:pt x="1568" y="1105"/>
                  <a:pt x="1568" y="1105"/>
                </a:cubicBezTo>
                <a:cubicBezTo>
                  <a:pt x="1520" y="1107"/>
                  <a:pt x="1520" y="1107"/>
                  <a:pt x="1520" y="1107"/>
                </a:cubicBezTo>
                <a:cubicBezTo>
                  <a:pt x="1129" y="1123"/>
                  <a:pt x="834" y="1438"/>
                  <a:pt x="834" y="1839"/>
                </a:cubicBezTo>
                <a:cubicBezTo>
                  <a:pt x="834" y="2243"/>
                  <a:pt x="1167" y="2572"/>
                  <a:pt x="1575" y="2572"/>
                </a:cubicBezTo>
                <a:close/>
                <a:moveTo>
                  <a:pt x="1476" y="1203"/>
                </a:moveTo>
                <a:cubicBezTo>
                  <a:pt x="1476" y="1959"/>
                  <a:pt x="1476" y="1959"/>
                  <a:pt x="1476" y="1959"/>
                </a:cubicBezTo>
                <a:cubicBezTo>
                  <a:pt x="2155" y="1583"/>
                  <a:pt x="2155" y="1583"/>
                  <a:pt x="2155" y="1583"/>
                </a:cubicBezTo>
                <a:cubicBezTo>
                  <a:pt x="2193" y="1667"/>
                  <a:pt x="2212" y="1753"/>
                  <a:pt x="2212" y="1839"/>
                </a:cubicBezTo>
                <a:cubicBezTo>
                  <a:pt x="2212" y="2193"/>
                  <a:pt x="1926" y="2480"/>
                  <a:pt x="1575" y="2480"/>
                </a:cubicBezTo>
                <a:cubicBezTo>
                  <a:pt x="1217" y="2480"/>
                  <a:pt x="926" y="2193"/>
                  <a:pt x="926" y="1839"/>
                </a:cubicBezTo>
                <a:cubicBezTo>
                  <a:pt x="926" y="1505"/>
                  <a:pt x="1160" y="1239"/>
                  <a:pt x="1476" y="1203"/>
                </a:cubicBezTo>
                <a:close/>
                <a:moveTo>
                  <a:pt x="2420" y="1177"/>
                </a:moveTo>
                <a:cubicBezTo>
                  <a:pt x="2296" y="933"/>
                  <a:pt x="2035" y="775"/>
                  <a:pt x="1754" y="775"/>
                </a:cubicBezTo>
                <a:cubicBezTo>
                  <a:pt x="1743" y="775"/>
                  <a:pt x="1706" y="776"/>
                  <a:pt x="1706" y="776"/>
                </a:cubicBezTo>
                <a:cubicBezTo>
                  <a:pt x="1660" y="777"/>
                  <a:pt x="1660" y="777"/>
                  <a:pt x="1660" y="777"/>
                </a:cubicBezTo>
                <a:cubicBezTo>
                  <a:pt x="1660" y="1647"/>
                  <a:pt x="1660" y="1647"/>
                  <a:pt x="1660" y="1647"/>
                </a:cubicBezTo>
                <a:cubicBezTo>
                  <a:pt x="2439" y="1217"/>
                  <a:pt x="2439" y="1217"/>
                  <a:pt x="2439" y="1217"/>
                </a:cubicBezTo>
                <a:lnTo>
                  <a:pt x="2420" y="1177"/>
                </a:lnTo>
                <a:close/>
                <a:moveTo>
                  <a:pt x="1752" y="1491"/>
                </a:moveTo>
                <a:cubicBezTo>
                  <a:pt x="1752" y="876"/>
                  <a:pt x="1752" y="876"/>
                  <a:pt x="1752" y="876"/>
                </a:cubicBezTo>
                <a:cubicBezTo>
                  <a:pt x="1752" y="876"/>
                  <a:pt x="1754" y="876"/>
                  <a:pt x="1754" y="876"/>
                </a:cubicBezTo>
                <a:cubicBezTo>
                  <a:pt x="1985" y="876"/>
                  <a:pt x="2200" y="993"/>
                  <a:pt x="2315" y="1184"/>
                </a:cubicBezTo>
                <a:lnTo>
                  <a:pt x="1752" y="14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useBgFill="1">
        <p:nvSpPr>
          <p:cNvPr id="3" name="Rectangle 2"/>
          <p:cNvSpPr/>
          <p:nvPr/>
        </p:nvSpPr>
        <p:spPr bwMode="auto">
          <a:xfrm>
            <a:off x="6474603" y="2370775"/>
            <a:ext cx="8016916" cy="208020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6527356" y="2869911"/>
            <a:ext cx="2531177" cy="1403461"/>
          </a:xfrm>
          <a:prstGeom prst="rect">
            <a:avLst/>
          </a:prstGeom>
          <a:noFill/>
        </p:spPr>
        <p:txBody>
          <a:bodyPr wrap="square" lIns="182880" tIns="146304" rIns="182880" bIns="146304" rtlCol="0">
            <a:spAutoFit/>
          </a:bodyPr>
          <a:lstStyle/>
          <a:p>
            <a:pPr>
              <a:lnSpc>
                <a:spcPct val="90000"/>
              </a:lnSpc>
              <a:spcAft>
                <a:spcPts val="600"/>
              </a:spcAft>
            </a:pPr>
            <a:r>
              <a:rPr lang="en-US" sz="3900" spc="-50" dirty="0">
                <a:gradFill>
                  <a:gsLst>
                    <a:gs pos="2917">
                      <a:srgbClr val="FFFFFF"/>
                    </a:gs>
                    <a:gs pos="30000">
                      <a:srgbClr val="FFFFFF"/>
                    </a:gs>
                  </a:gsLst>
                  <a:lin ang="5400000" scaled="0"/>
                </a:gradFill>
                <a:latin typeface="Segoe UI Light"/>
              </a:rPr>
              <a:t>Intelligent </a:t>
            </a:r>
            <a:br>
              <a:rPr lang="en-US" sz="3900" spc="-50" dirty="0">
                <a:gradFill>
                  <a:gsLst>
                    <a:gs pos="2917">
                      <a:srgbClr val="FFFFFF"/>
                    </a:gs>
                    <a:gs pos="30000">
                      <a:srgbClr val="FFFFFF"/>
                    </a:gs>
                  </a:gsLst>
                  <a:lin ang="5400000" scaled="0"/>
                </a:gradFill>
                <a:latin typeface="Segoe UI Light"/>
              </a:rPr>
            </a:br>
            <a:r>
              <a:rPr lang="en-US" sz="3900" spc="-50" dirty="0">
                <a:gradFill>
                  <a:gsLst>
                    <a:gs pos="2917">
                      <a:srgbClr val="FFFFFF"/>
                    </a:gs>
                    <a:gs pos="30000">
                      <a:srgbClr val="FFFFFF"/>
                    </a:gs>
                  </a:gsLst>
                  <a:lin ang="5400000" scaled="0"/>
                </a:gradFill>
                <a:latin typeface="Segoe UI Light"/>
              </a:rPr>
              <a:t>action</a:t>
            </a:r>
          </a:p>
        </p:txBody>
      </p:sp>
      <p:sp>
        <p:nvSpPr>
          <p:cNvPr id="25" name="Freeform 21"/>
          <p:cNvSpPr>
            <a:spLocks/>
          </p:cNvSpPr>
          <p:nvPr/>
        </p:nvSpPr>
        <p:spPr bwMode="auto">
          <a:xfrm>
            <a:off x="13473832" y="3118937"/>
            <a:ext cx="888017" cy="868676"/>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useBgFill="1">
        <p:nvSpPr>
          <p:cNvPr id="9" name="DELAY"/>
          <p:cNvSpPr/>
          <p:nvPr/>
        </p:nvSpPr>
        <p:spPr bwMode="auto">
          <a:xfrm>
            <a:off x="12436475" y="-834888"/>
            <a:ext cx="834888" cy="83488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5"/>
          <p:cNvSpPr>
            <a:spLocks noEditPoints="1"/>
          </p:cNvSpPr>
          <p:nvPr/>
        </p:nvSpPr>
        <p:spPr bwMode="auto">
          <a:xfrm>
            <a:off x="5523698" y="3407141"/>
            <a:ext cx="950905" cy="284208"/>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TextBox 27"/>
          <p:cNvSpPr txBox="1"/>
          <p:nvPr/>
        </p:nvSpPr>
        <p:spPr>
          <a:xfrm>
            <a:off x="7976720"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600" dirty="0">
                <a:gradFill>
                  <a:gsLst>
                    <a:gs pos="2917">
                      <a:srgbClr val="FFFFFF"/>
                    </a:gs>
                    <a:gs pos="30000">
                      <a:srgbClr val="FFFFFF"/>
                    </a:gs>
                  </a:gsLst>
                  <a:lin ang="5400000" scaled="0"/>
                </a:gradFill>
              </a:rPr>
              <a:t>happen?</a:t>
            </a:r>
          </a:p>
        </p:txBody>
      </p:sp>
      <p:sp>
        <p:nvSpPr>
          <p:cNvPr id="29" name="TextBox 28"/>
          <p:cNvSpPr txBox="1"/>
          <p:nvPr/>
        </p:nvSpPr>
        <p:spPr>
          <a:xfrm>
            <a:off x="9942898"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600" dirty="0">
                <a:gradFill>
                  <a:gsLst>
                    <a:gs pos="2917">
                      <a:srgbClr val="FFFFFF"/>
                    </a:gs>
                    <a:gs pos="30000">
                      <a:srgbClr val="FFFFFF"/>
                    </a:gs>
                  </a:gsLst>
                  <a:lin ang="5400000" scaled="0"/>
                </a:gradFill>
              </a:rPr>
              <a:t>happen?</a:t>
            </a:r>
          </a:p>
        </p:txBody>
      </p:sp>
      <p:sp>
        <p:nvSpPr>
          <p:cNvPr id="30" name="TextBox 29"/>
          <p:cNvSpPr txBox="1"/>
          <p:nvPr/>
        </p:nvSpPr>
        <p:spPr>
          <a:xfrm>
            <a:off x="11856824"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600" dirty="0">
                <a:gradFill>
                  <a:gsLst>
                    <a:gs pos="2917">
                      <a:srgbClr val="FFFFFF"/>
                    </a:gs>
                    <a:gs pos="30000">
                      <a:srgbClr val="FFFFFF"/>
                    </a:gs>
                  </a:gsLst>
                  <a:lin ang="5400000" scaled="0"/>
                </a:gradFill>
              </a:rPr>
              <a:t> should I do?</a:t>
            </a:r>
          </a:p>
        </p:txBody>
      </p:sp>
      <p:sp>
        <p:nvSpPr>
          <p:cNvPr id="31" name="TextBox 30"/>
          <p:cNvSpPr txBox="1"/>
          <p:nvPr/>
        </p:nvSpPr>
        <p:spPr>
          <a:xfrm>
            <a:off x="6075857" y="4450977"/>
            <a:ext cx="2236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600" dirty="0">
                <a:gradFill>
                  <a:gsLst>
                    <a:gs pos="2917">
                      <a:srgbClr val="FFFFFF"/>
                    </a:gs>
                    <a:gs pos="30000">
                      <a:srgbClr val="FFFFFF"/>
                    </a:gs>
                  </a:gsLst>
                  <a:lin ang="5400000" scaled="0"/>
                </a:gradFill>
              </a:rPr>
              <a:t> happened?</a:t>
            </a:r>
          </a:p>
        </p:txBody>
      </p:sp>
    </p:spTree>
    <p:extLst>
      <p:ext uri="{BB962C8B-B14F-4D97-AF65-F5344CB8AC3E}">
        <p14:creationId xmlns:p14="http://schemas.microsoft.com/office/powerpoint/2010/main" val="801861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6" presetClass="emph" presetSubtype="0" accel="100000" autoRev="1" fill="hold" grpId="1" nodeType="withEffect">
                                  <p:stCondLst>
                                    <p:cond delay="0"/>
                                  </p:stCondLst>
                                  <p:childTnLst>
                                    <p:animScale>
                                      <p:cBhvr>
                                        <p:cTn id="9" dur="750" fill="hold"/>
                                        <p:tgtEl>
                                          <p:spTgt spid="14"/>
                                        </p:tgtEl>
                                      </p:cBhvr>
                                      <p:by x="80000" y="80000"/>
                                    </p:animScale>
                                  </p:childTnLst>
                                </p:cTn>
                              </p:par>
                              <p:par>
                                <p:cTn id="10" presetID="10" presetClass="entr" presetSubtype="0" fill="hold" nodeType="withEffect">
                                  <p:stCondLst>
                                    <p:cond delay="15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10" presetClass="entr" presetSubtype="0" fill="hold" grpId="0" nodeType="withEffect">
                                  <p:stCondLst>
                                    <p:cond delay="15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250"/>
                                        <p:tgtEl>
                                          <p:spTgt spid="27"/>
                                        </p:tgtEl>
                                      </p:cBhvr>
                                    </p:animEffect>
                                  </p:childTnLst>
                                </p:cTn>
                              </p:par>
                              <p:par>
                                <p:cTn id="16" presetID="35" presetClass="path" presetSubtype="0" decel="100000" fill="hold" grpId="1" nodeType="withEffect">
                                  <p:stCondLst>
                                    <p:cond delay="800"/>
                                  </p:stCondLst>
                                  <p:childTnLst>
                                    <p:animMotion origin="layout" path="M 1.87133E-6 3.25011E-6 L -0.04685 3.25011E-6 " pathEditMode="relative" rAng="0" ptsTypes="AA">
                                      <p:cBhvr>
                                        <p:cTn id="17" dur="1500" spd="-100000" fill="hold"/>
                                        <p:tgtEl>
                                          <p:spTgt spid="27"/>
                                        </p:tgtEl>
                                        <p:attrNameLst>
                                          <p:attrName>ppt_x</p:attrName>
                                          <p:attrName>ppt_y</p:attrName>
                                        </p:attrNameLst>
                                      </p:cBhvr>
                                      <p:rCtr x="-2349" y="0"/>
                                    </p:animMotion>
                                  </p:childTnLst>
                                </p:cTn>
                              </p:par>
                              <p:par>
                                <p:cTn id="18" presetID="35" presetClass="path" presetSubtype="0" decel="100000" fill="hold" nodeType="withEffect">
                                  <p:stCondLst>
                                    <p:cond delay="800"/>
                                  </p:stCondLst>
                                  <p:childTnLst>
                                    <p:animMotion origin="layout" path="M 1.87133E-6 3.25011E-6 L -0.04685 3.25011E-6 " pathEditMode="relative" rAng="0" ptsTypes="AA">
                                      <p:cBhvr>
                                        <p:cTn id="19" dur="1500" spd="-100000" fill="hold"/>
                                        <p:tgtEl>
                                          <p:spTgt spid="5"/>
                                        </p:tgtEl>
                                        <p:attrNameLst>
                                          <p:attrName>ppt_x</p:attrName>
                                          <p:attrName>ppt_y</p:attrName>
                                        </p:attrNameLst>
                                      </p:cBhvr>
                                      <p:rCtr x="-2349" y="0"/>
                                    </p:animMotion>
                                  </p:childTnLst>
                                </p:cTn>
                              </p:par>
                              <p:par>
                                <p:cTn id="20" presetID="10" presetClass="entr" presetSubtype="0" fill="hold" nodeType="withEffect">
                                  <p:stCondLst>
                                    <p:cond delay="8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50"/>
                                        <p:tgtEl>
                                          <p:spTgt spid="16"/>
                                        </p:tgtEl>
                                      </p:cBhvr>
                                    </p:animEffect>
                                  </p:childTnLst>
                                </p:cTn>
                              </p:par>
                              <p:par>
                                <p:cTn id="23" presetID="6" presetClass="emph" presetSubtype="0" accel="100000" autoRev="1" fill="hold" nodeType="withEffect">
                                  <p:stCondLst>
                                    <p:cond delay="100"/>
                                  </p:stCondLst>
                                  <p:childTnLst>
                                    <p:animScale>
                                      <p:cBhvr>
                                        <p:cTn id="24" dur="750" fill="hold"/>
                                        <p:tgtEl>
                                          <p:spTgt spid="16"/>
                                        </p:tgtEl>
                                      </p:cBhvr>
                                      <p:by x="80000" y="80000"/>
                                    </p:animScale>
                                  </p:childTnLst>
                                </p:cTn>
                              </p:par>
                              <p:par>
                                <p:cTn id="25" presetID="10" presetClass="entr" presetSubtype="0" fill="hold" grpId="0" nodeType="withEffect">
                                  <p:stCondLst>
                                    <p:cond delay="9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6" presetClass="emph" presetSubtype="0" accel="100000" autoRev="1" fill="hold" grpId="1" nodeType="withEffect">
                                  <p:stCondLst>
                                    <p:cond delay="200"/>
                                  </p:stCondLst>
                                  <p:childTnLst>
                                    <p:animScale>
                                      <p:cBhvr>
                                        <p:cTn id="29" dur="750" fill="hold"/>
                                        <p:tgtEl>
                                          <p:spTgt spid="13"/>
                                        </p:tgtEl>
                                      </p:cBhvr>
                                      <p:by x="80000" y="80000"/>
                                    </p:animScale>
                                  </p:childTnLst>
                                </p:cTn>
                              </p:par>
                              <p:par>
                                <p:cTn id="30" presetID="10" presetClass="entr" presetSubtype="0" fill="hold" grpId="0" nodeType="withEffect">
                                  <p:stCondLst>
                                    <p:cond delay="10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6" presetClass="emph" presetSubtype="0" accel="100000" autoRev="1" fill="hold" grpId="1" nodeType="withEffect">
                                  <p:stCondLst>
                                    <p:cond delay="300"/>
                                  </p:stCondLst>
                                  <p:childTnLst>
                                    <p:animScale>
                                      <p:cBhvr>
                                        <p:cTn id="34" dur="750" fill="hold"/>
                                        <p:tgtEl>
                                          <p:spTgt spid="15"/>
                                        </p:tgtEl>
                                      </p:cBhvr>
                                      <p:by x="80000" y="80000"/>
                                    </p:animScale>
                                  </p:childTnLst>
                                </p:cTn>
                              </p:par>
                              <p:par>
                                <p:cTn id="35" presetID="10" presetClass="entr" presetSubtype="0" fill="hold" grpId="0" nodeType="withEffect">
                                  <p:stCondLst>
                                    <p:cond delay="115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250"/>
                                        <p:tgtEl>
                                          <p:spTgt spid="8"/>
                                        </p:tgtEl>
                                      </p:cBhvr>
                                    </p:animEffect>
                                  </p:childTnLst>
                                </p:cTn>
                              </p:par>
                              <p:par>
                                <p:cTn id="38" presetID="6" presetClass="emph" presetSubtype="0" accel="100000" autoRev="1" fill="hold" grpId="1" nodeType="withEffect">
                                  <p:stCondLst>
                                    <p:cond delay="500"/>
                                  </p:stCondLst>
                                  <p:childTnLst>
                                    <p:animScale>
                                      <p:cBhvr>
                                        <p:cTn id="39" dur="750" fill="hold"/>
                                        <p:tgtEl>
                                          <p:spTgt spid="8"/>
                                        </p:tgtEl>
                                      </p:cBhvr>
                                      <p:by x="80000" y="80000"/>
                                    </p:animScale>
                                  </p:childTnLst>
                                </p:cTn>
                              </p:par>
                              <p:par>
                                <p:cTn id="40" presetID="35" presetClass="path" presetSubtype="0" decel="100000" fill="hold" grpId="0" nodeType="withEffect">
                                  <p:stCondLst>
                                    <p:cond delay="800"/>
                                  </p:stCondLst>
                                  <p:childTnLst>
                                    <p:animMotion origin="layout" path="M 1.87133E-6 3.25011E-6 L -0.04685 3.25011E-6 " pathEditMode="relative" rAng="0" ptsTypes="AA">
                                      <p:cBhvr>
                                        <p:cTn id="41" dur="1500" spd="-100000" fill="hold"/>
                                        <p:tgtEl>
                                          <p:spTgt spid="3"/>
                                        </p:tgtEl>
                                        <p:attrNameLst>
                                          <p:attrName>ppt_x</p:attrName>
                                          <p:attrName>ppt_y</p:attrName>
                                        </p:attrNameLst>
                                      </p:cBhvr>
                                      <p:rCtr x="-2349" y="0"/>
                                    </p:animMotion>
                                  </p:childTnLst>
                                </p:cTn>
                              </p:par>
                              <p:par>
                                <p:cTn id="42" presetID="10" presetClass="entr" presetSubtype="0" fill="hold" grpId="0" nodeType="withEffect">
                                  <p:stCondLst>
                                    <p:cond delay="16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par>
                                <p:cTn id="45" presetID="35" presetClass="path" presetSubtype="0" decel="100000" fill="hold" grpId="1" nodeType="withEffect">
                                  <p:stCondLst>
                                    <p:cond delay="900"/>
                                  </p:stCondLst>
                                  <p:childTnLst>
                                    <p:animMotion origin="layout" path="M 2.47894E-6 2.7281E-6 L -0.04685 2.7281E-6 " pathEditMode="relative" rAng="0" ptsTypes="AA">
                                      <p:cBhvr>
                                        <p:cTn id="46" dur="1400" spd="-100000" fill="hold"/>
                                        <p:tgtEl>
                                          <p:spTgt spid="2"/>
                                        </p:tgtEl>
                                        <p:attrNameLst>
                                          <p:attrName>ppt_x</p:attrName>
                                          <p:attrName>ppt_y</p:attrName>
                                        </p:attrNameLst>
                                      </p:cBhvr>
                                      <p:rCtr x="-2349" y="0"/>
                                    </p:animMotion>
                                  </p:childTnLst>
                                </p:cTn>
                              </p:par>
                              <p:par>
                                <p:cTn id="47" presetID="1" presetClass="entr" presetSubtype="0" fill="hold" grpId="0" nodeType="withEffect">
                                  <p:stCondLst>
                                    <p:cond delay="75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75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250"/>
                                        <p:tgtEl>
                                          <p:spTgt spid="21"/>
                                        </p:tgtEl>
                                      </p:cBhvr>
                                    </p:animEffect>
                                  </p:childTnLst>
                                </p:cTn>
                              </p:par>
                              <p:par>
                                <p:cTn id="54" presetID="6" presetClass="emph" presetSubtype="0" accel="100000" autoRev="1" fill="hold" grpId="1" nodeType="withEffect">
                                  <p:stCondLst>
                                    <p:cond delay="0"/>
                                  </p:stCondLst>
                                  <p:childTnLst>
                                    <p:animScale>
                                      <p:cBhvr>
                                        <p:cTn id="55" dur="750" fill="hold"/>
                                        <p:tgtEl>
                                          <p:spTgt spid="21"/>
                                        </p:tgtEl>
                                      </p:cBhvr>
                                      <p:by x="80000" y="80000"/>
                                    </p:animScale>
                                  </p:childTnLst>
                                </p:cTn>
                              </p:par>
                              <p:par>
                                <p:cTn id="56" presetID="10" presetClass="entr" presetSubtype="0" fill="hold" grpId="0" nodeType="withEffect">
                                  <p:stCondLst>
                                    <p:cond delay="100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250"/>
                                        <p:tgtEl>
                                          <p:spTgt spid="24"/>
                                        </p:tgtEl>
                                      </p:cBhvr>
                                    </p:animEffect>
                                  </p:childTnLst>
                                </p:cTn>
                              </p:par>
                              <p:par>
                                <p:cTn id="59" presetID="6" presetClass="emph" presetSubtype="0" accel="100000" autoRev="1" fill="hold" grpId="1" nodeType="withEffect">
                                  <p:stCondLst>
                                    <p:cond delay="250"/>
                                  </p:stCondLst>
                                  <p:childTnLst>
                                    <p:animScale>
                                      <p:cBhvr>
                                        <p:cTn id="60" dur="750" fill="hold"/>
                                        <p:tgtEl>
                                          <p:spTgt spid="24"/>
                                        </p:tgtEl>
                                      </p:cBhvr>
                                      <p:by x="80000" y="80000"/>
                                    </p:animScale>
                                  </p:childTnLst>
                                </p:cTn>
                              </p:par>
                              <p:par>
                                <p:cTn id="61" presetID="10" presetClass="entr" presetSubtype="0" fill="hold" grpId="0" nodeType="withEffect">
                                  <p:stCondLst>
                                    <p:cond delay="125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250"/>
                                        <p:tgtEl>
                                          <p:spTgt spid="23"/>
                                        </p:tgtEl>
                                      </p:cBhvr>
                                    </p:animEffect>
                                  </p:childTnLst>
                                </p:cTn>
                              </p:par>
                              <p:par>
                                <p:cTn id="64" presetID="6" presetClass="emph" presetSubtype="0" accel="100000" autoRev="1" fill="hold" grpId="1" nodeType="withEffect">
                                  <p:stCondLst>
                                    <p:cond delay="500"/>
                                  </p:stCondLst>
                                  <p:childTnLst>
                                    <p:animScale>
                                      <p:cBhvr>
                                        <p:cTn id="65" dur="750" fill="hold"/>
                                        <p:tgtEl>
                                          <p:spTgt spid="23"/>
                                        </p:tgtEl>
                                      </p:cBhvr>
                                      <p:by x="80000" y="80000"/>
                                    </p:animScale>
                                  </p:childTnLst>
                                </p:cTn>
                              </p:par>
                              <p:par>
                                <p:cTn id="66" presetID="10" presetClass="entr" presetSubtype="0" fill="hold" grpId="0" nodeType="withEffect">
                                  <p:stCondLst>
                                    <p:cond delay="150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250"/>
                                        <p:tgtEl>
                                          <p:spTgt spid="22"/>
                                        </p:tgtEl>
                                      </p:cBhvr>
                                    </p:animEffect>
                                  </p:childTnLst>
                                </p:cTn>
                              </p:par>
                              <p:par>
                                <p:cTn id="69" presetID="6" presetClass="emph" presetSubtype="0" accel="100000" autoRev="1" fill="hold" grpId="1" nodeType="withEffect">
                                  <p:stCondLst>
                                    <p:cond delay="750"/>
                                  </p:stCondLst>
                                  <p:childTnLst>
                                    <p:animScale>
                                      <p:cBhvr>
                                        <p:cTn id="70" dur="750" fill="hold"/>
                                        <p:tgtEl>
                                          <p:spTgt spid="22"/>
                                        </p:tgtEl>
                                      </p:cBhvr>
                                      <p:by x="80000" y="80000"/>
                                    </p:animScale>
                                  </p:childTnLst>
                                </p:cTn>
                              </p:par>
                              <p:par>
                                <p:cTn id="71" presetID="10" presetClass="entr" presetSubtype="0" fill="hold" grpId="0" nodeType="withEffect">
                                  <p:stCondLst>
                                    <p:cond delay="185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50"/>
                                        <p:tgtEl>
                                          <p:spTgt spid="25"/>
                                        </p:tgtEl>
                                      </p:cBhvr>
                                    </p:animEffect>
                                  </p:childTnLst>
                                </p:cTn>
                              </p:par>
                              <p:par>
                                <p:cTn id="74" presetID="6" presetClass="emph" presetSubtype="0" accel="100000" autoRev="1" fill="hold" grpId="1" nodeType="withEffect">
                                  <p:stCondLst>
                                    <p:cond delay="1000"/>
                                  </p:stCondLst>
                                  <p:childTnLst>
                                    <p:animScale>
                                      <p:cBhvr>
                                        <p:cTn id="75" dur="750" fill="hold"/>
                                        <p:tgtEl>
                                          <p:spTgt spid="25"/>
                                        </p:tgtEl>
                                      </p:cBhvr>
                                      <p:by x="80000" y="80000"/>
                                    </p:animScale>
                                  </p:childTnLst>
                                </p:cTn>
                              </p:par>
                              <p:par>
                                <p:cTn id="76" presetID="42" presetClass="path" presetSubtype="0" accel="10000" decel="90000" fill="hold" grpId="2" nodeType="withEffect">
                                  <p:stCondLst>
                                    <p:cond delay="500"/>
                                  </p:stCondLst>
                                  <p:childTnLst>
                                    <p:animMotion origin="layout" path="M -1.12841E-6 -6.7635E-7 L -0.35333 -6.7635E-7 " pathEditMode="relative" rAng="0" ptsTypes="AA">
                                      <p:cBhvr>
                                        <p:cTn id="77" dur="2000" fill="hold"/>
                                        <p:tgtEl>
                                          <p:spTgt spid="25"/>
                                        </p:tgtEl>
                                        <p:attrNameLst>
                                          <p:attrName>ppt_x</p:attrName>
                                          <p:attrName>ppt_y</p:attrName>
                                        </p:attrNameLst>
                                      </p:cBhvr>
                                      <p:rCtr x="-17667" y="0"/>
                                    </p:animMotion>
                                  </p:childTnLst>
                                </p:cTn>
                              </p:par>
                              <p:par>
                                <p:cTn id="78" presetID="42" presetClass="path" presetSubtype="0" accel="10000" decel="90000" fill="hold" grpId="2" nodeType="withEffect">
                                  <p:stCondLst>
                                    <p:cond delay="500"/>
                                  </p:stCondLst>
                                  <p:childTnLst>
                                    <p:animMotion origin="layout" path="M -1.12841E-6 -6.7635E-7 L -0.35333 -6.7635E-7 " pathEditMode="relative" rAng="0" ptsTypes="AA">
                                      <p:cBhvr>
                                        <p:cTn id="79" dur="2000" fill="hold"/>
                                        <p:tgtEl>
                                          <p:spTgt spid="22"/>
                                        </p:tgtEl>
                                        <p:attrNameLst>
                                          <p:attrName>ppt_x</p:attrName>
                                          <p:attrName>ppt_y</p:attrName>
                                        </p:attrNameLst>
                                      </p:cBhvr>
                                      <p:rCtr x="-17667" y="0"/>
                                    </p:animMotion>
                                  </p:childTnLst>
                                </p:cTn>
                              </p:par>
                              <p:par>
                                <p:cTn id="80" presetID="42" presetClass="path" presetSubtype="0" accel="10000" decel="90000" fill="hold" grpId="2" nodeType="withEffect">
                                  <p:stCondLst>
                                    <p:cond delay="500"/>
                                  </p:stCondLst>
                                  <p:childTnLst>
                                    <p:animMotion origin="layout" path="M -2.24917E-6 3.85837E-7 L -0.35333 -1.14389E-6 " pathEditMode="relative" rAng="0" ptsTypes="AA">
                                      <p:cBhvr>
                                        <p:cTn id="81" dur="2000" fill="hold"/>
                                        <p:tgtEl>
                                          <p:spTgt spid="23"/>
                                        </p:tgtEl>
                                        <p:attrNameLst>
                                          <p:attrName>ppt_x</p:attrName>
                                          <p:attrName>ppt_y</p:attrName>
                                        </p:attrNameLst>
                                      </p:cBhvr>
                                      <p:rCtr x="-16748" y="-1089"/>
                                    </p:animMotion>
                                  </p:childTnLst>
                                </p:cTn>
                              </p:par>
                              <p:par>
                                <p:cTn id="82" presetID="42" presetClass="path" presetSubtype="0" accel="10000" decel="90000" fill="hold" grpId="2" nodeType="withEffect">
                                  <p:stCondLst>
                                    <p:cond delay="500"/>
                                  </p:stCondLst>
                                  <p:childTnLst>
                                    <p:animMotion origin="layout" path="M -2.24917E-6 3.85837E-7 L -0.35333 -1.14389E-6 " pathEditMode="relative" rAng="0" ptsTypes="AA">
                                      <p:cBhvr>
                                        <p:cTn id="83" dur="2000" fill="hold"/>
                                        <p:tgtEl>
                                          <p:spTgt spid="24"/>
                                        </p:tgtEl>
                                        <p:attrNameLst>
                                          <p:attrName>ppt_x</p:attrName>
                                          <p:attrName>ppt_y</p:attrName>
                                        </p:attrNameLst>
                                      </p:cBhvr>
                                      <p:rCtr x="-16748" y="-1089"/>
                                    </p:animMotion>
                                  </p:childTnLst>
                                </p:cTn>
                              </p:par>
                              <p:par>
                                <p:cTn id="84" presetID="42" presetClass="path" presetSubtype="0" accel="10000" decel="90000" fill="hold" grpId="2" nodeType="withEffect">
                                  <p:stCondLst>
                                    <p:cond delay="500"/>
                                  </p:stCondLst>
                                  <p:childTnLst>
                                    <p:animMotion origin="layout" path="M -2.24917E-6 3.85837E-7 L -0.35333 -1.14389E-6 " pathEditMode="relative" rAng="0" ptsTypes="AA">
                                      <p:cBhvr>
                                        <p:cTn id="85" dur="2000" fill="hold"/>
                                        <p:tgtEl>
                                          <p:spTgt spid="21"/>
                                        </p:tgtEl>
                                        <p:attrNameLst>
                                          <p:attrName>ppt_x</p:attrName>
                                          <p:attrName>ppt_y</p:attrName>
                                        </p:attrNameLst>
                                      </p:cBhvr>
                                      <p:rCtr x="-16748" y="-1089"/>
                                    </p:animMotion>
                                  </p:childTnLst>
                                </p:cTn>
                              </p:par>
                              <p:par>
                                <p:cTn id="86" presetID="42" presetClass="path" presetSubtype="0" accel="10000" decel="90000" fill="hold" grpId="2" nodeType="withEffect">
                                  <p:stCondLst>
                                    <p:cond delay="500"/>
                                  </p:stCondLst>
                                  <p:childTnLst>
                                    <p:animMotion origin="layout" path="M 2.47894E-6 2.7281E-6 L 0.28108 2.7281E-6 " pathEditMode="relative" rAng="0" ptsTypes="AA">
                                      <p:cBhvr>
                                        <p:cTn id="87" dur="2000" fill="hold"/>
                                        <p:tgtEl>
                                          <p:spTgt spid="2"/>
                                        </p:tgtEl>
                                        <p:attrNameLst>
                                          <p:attrName>ppt_x</p:attrName>
                                          <p:attrName>ppt_y</p:attrName>
                                        </p:attrNameLst>
                                      </p:cBhvr>
                                      <p:rCtr x="14054" y="0"/>
                                    </p:animMotion>
                                  </p:childTnLst>
                                </p:cTn>
                              </p:par>
                              <p:par>
                                <p:cTn id="88" presetID="42" presetClass="path" presetSubtype="0" accel="10000" decel="90000" fill="hold" grpId="1" nodeType="withEffect">
                                  <p:stCondLst>
                                    <p:cond delay="500"/>
                                  </p:stCondLst>
                                  <p:childTnLst>
                                    <p:animMotion origin="layout" path="M -4.43707E-6 2.97776E-6 L 0.28326 2.97776E-6 " pathEditMode="relative" rAng="0" ptsTypes="AA">
                                      <p:cBhvr>
                                        <p:cTn id="89" dur="2000" fill="hold"/>
                                        <p:tgtEl>
                                          <p:spTgt spid="3"/>
                                        </p:tgtEl>
                                        <p:attrNameLst>
                                          <p:attrName>ppt_x</p:attrName>
                                          <p:attrName>ppt_y</p:attrName>
                                        </p:attrNameLst>
                                      </p:cBhvr>
                                      <p:rCtr x="14156" y="0"/>
                                    </p:animMotion>
                                  </p:childTnLst>
                                </p:cTn>
                              </p:par>
                              <p:par>
                                <p:cTn id="90" presetID="42" presetClass="path" presetSubtype="0" accel="10000" decel="90000" fill="hold" grpId="2" nodeType="withEffect">
                                  <p:stCondLst>
                                    <p:cond delay="500"/>
                                  </p:stCondLst>
                                  <p:childTnLst>
                                    <p:animMotion origin="layout" path="M -2.24917E-6 3.85837E-7 L -0.35333 -1.14389E-6 " pathEditMode="relative" rAng="0" ptsTypes="AA">
                                      <p:cBhvr>
                                        <p:cTn id="91" dur="2000" fill="hold"/>
                                        <p:tgtEl>
                                          <p:spTgt spid="8"/>
                                        </p:tgtEl>
                                        <p:attrNameLst>
                                          <p:attrName>ppt_x</p:attrName>
                                          <p:attrName>ppt_y</p:attrName>
                                        </p:attrNameLst>
                                      </p:cBhvr>
                                      <p:rCtr x="-16748" y="-1089"/>
                                    </p:animMotion>
                                  </p:childTnLst>
                                </p:cTn>
                              </p:par>
                              <p:par>
                                <p:cTn id="92" presetID="42" presetClass="path" presetSubtype="0" accel="10000" decel="90000" fill="hold" nodeType="withEffect">
                                  <p:stCondLst>
                                    <p:cond delay="500"/>
                                  </p:stCondLst>
                                  <p:childTnLst>
                                    <p:animMotion origin="layout" path="M 1.87133E-6 3.25011E-6 L -0.35333 3.25011E-6 " pathEditMode="relative" rAng="0" ptsTypes="AA">
                                      <p:cBhvr>
                                        <p:cTn id="93" dur="2000" fill="hold"/>
                                        <p:tgtEl>
                                          <p:spTgt spid="5"/>
                                        </p:tgtEl>
                                        <p:attrNameLst>
                                          <p:attrName>ppt_x</p:attrName>
                                          <p:attrName>ppt_y</p:attrName>
                                        </p:attrNameLst>
                                      </p:cBhvr>
                                      <p:rCtr x="-17667" y="0"/>
                                    </p:animMotion>
                                  </p:childTnLst>
                                </p:cTn>
                              </p:par>
                              <p:par>
                                <p:cTn id="94" presetID="42" presetClass="path" presetSubtype="0" accel="10000" decel="90000" fill="hold" grpId="2" nodeType="withEffect">
                                  <p:stCondLst>
                                    <p:cond delay="500"/>
                                  </p:stCondLst>
                                  <p:childTnLst>
                                    <p:animMotion origin="layout" path="M -2.24917E-6 3.85837E-7 L -0.35333 -1.14389E-6 " pathEditMode="relative" rAng="0" ptsTypes="AA">
                                      <p:cBhvr>
                                        <p:cTn id="95" dur="2000" fill="hold"/>
                                        <p:tgtEl>
                                          <p:spTgt spid="15"/>
                                        </p:tgtEl>
                                        <p:attrNameLst>
                                          <p:attrName>ppt_x</p:attrName>
                                          <p:attrName>ppt_y</p:attrName>
                                        </p:attrNameLst>
                                      </p:cBhvr>
                                      <p:rCtr x="-16748" y="-1089"/>
                                    </p:animMotion>
                                  </p:childTnLst>
                                </p:cTn>
                              </p:par>
                              <p:par>
                                <p:cTn id="96" presetID="42" presetClass="path" presetSubtype="0" accel="10000" decel="90000" fill="hold" grpId="2" nodeType="withEffect">
                                  <p:stCondLst>
                                    <p:cond delay="500"/>
                                  </p:stCondLst>
                                  <p:childTnLst>
                                    <p:animMotion origin="layout" path="M -2.24917E-6 3.85837E-7 L -0.35333 -1.14389E-6 " pathEditMode="relative" rAng="0" ptsTypes="AA">
                                      <p:cBhvr>
                                        <p:cTn id="97" dur="2000" fill="hold"/>
                                        <p:tgtEl>
                                          <p:spTgt spid="13"/>
                                        </p:tgtEl>
                                        <p:attrNameLst>
                                          <p:attrName>ppt_x</p:attrName>
                                          <p:attrName>ppt_y</p:attrName>
                                        </p:attrNameLst>
                                      </p:cBhvr>
                                      <p:rCtr x="-16748" y="-1089"/>
                                    </p:animMotion>
                                  </p:childTnLst>
                                </p:cTn>
                              </p:par>
                              <p:par>
                                <p:cTn id="98" presetID="42" presetClass="path" presetSubtype="0" accel="10000" decel="90000" fill="hold" nodeType="withEffect">
                                  <p:stCondLst>
                                    <p:cond delay="500"/>
                                  </p:stCondLst>
                                  <p:childTnLst>
                                    <p:animMotion origin="layout" path="M -2.24917E-6 3.85837E-7 L -0.35333 -1.14389E-6 " pathEditMode="relative" rAng="0" ptsTypes="AA">
                                      <p:cBhvr>
                                        <p:cTn id="99" dur="2000" fill="hold"/>
                                        <p:tgtEl>
                                          <p:spTgt spid="16"/>
                                        </p:tgtEl>
                                        <p:attrNameLst>
                                          <p:attrName>ppt_x</p:attrName>
                                          <p:attrName>ppt_y</p:attrName>
                                        </p:attrNameLst>
                                      </p:cBhvr>
                                      <p:rCtr x="-16748" y="-1089"/>
                                    </p:animMotion>
                                  </p:childTnLst>
                                </p:cTn>
                              </p:par>
                              <p:par>
                                <p:cTn id="100" presetID="42" presetClass="path" presetSubtype="0" accel="10000" decel="90000" fill="hold" grpId="2" nodeType="withEffect">
                                  <p:stCondLst>
                                    <p:cond delay="500"/>
                                  </p:stCondLst>
                                  <p:childTnLst>
                                    <p:animMotion origin="layout" path="M -2.24917E-6 3.85837E-7 L -0.35333 -1.14389E-6 " pathEditMode="relative" rAng="0" ptsTypes="AA">
                                      <p:cBhvr>
                                        <p:cTn id="101" dur="2000" fill="hold"/>
                                        <p:tgtEl>
                                          <p:spTgt spid="14"/>
                                        </p:tgtEl>
                                        <p:attrNameLst>
                                          <p:attrName>ppt_x</p:attrName>
                                          <p:attrName>ppt_y</p:attrName>
                                        </p:attrNameLst>
                                      </p:cBhvr>
                                      <p:rCtr x="-16748" y="-1089"/>
                                    </p:animMotion>
                                  </p:childTnLst>
                                </p:cTn>
                              </p:par>
                              <p:par>
                                <p:cTn id="102" presetID="42" presetClass="path" presetSubtype="0" accel="10000" decel="90000" fill="hold" grpId="2" nodeType="withEffect">
                                  <p:stCondLst>
                                    <p:cond delay="500"/>
                                  </p:stCondLst>
                                  <p:childTnLst>
                                    <p:animMotion origin="layout" path="M 1.87133E-6 3.25011E-6 L -0.35333 3.25011E-6 " pathEditMode="relative" rAng="0" ptsTypes="AA">
                                      <p:cBhvr>
                                        <p:cTn id="103" dur="2000" fill="hold"/>
                                        <p:tgtEl>
                                          <p:spTgt spid="27"/>
                                        </p:tgtEl>
                                        <p:attrNameLst>
                                          <p:attrName>ppt_x</p:attrName>
                                          <p:attrName>ppt_y</p:attrName>
                                        </p:attrNameLst>
                                      </p:cBhvr>
                                      <p:rCtr x="-17667" y="0"/>
                                    </p:animMotion>
                                  </p:childTnLst>
                                </p:cTn>
                              </p:par>
                              <p:par>
                                <p:cTn id="104" presetID="10" presetClass="exit" presetSubtype="0" fill="hold" grpId="3" nodeType="withEffect">
                                  <p:stCondLst>
                                    <p:cond delay="500"/>
                                  </p:stCondLst>
                                  <p:childTnLst>
                                    <p:animEffect transition="out" filter="fade">
                                      <p:cBhvr>
                                        <p:cTn id="105" dur="250"/>
                                        <p:tgtEl>
                                          <p:spTgt spid="27"/>
                                        </p:tgtEl>
                                      </p:cBhvr>
                                    </p:animEffect>
                                    <p:set>
                                      <p:cBhvr>
                                        <p:cTn id="106" dur="1" fill="hold">
                                          <p:stCondLst>
                                            <p:cond delay="249"/>
                                          </p:stCondLst>
                                        </p:cTn>
                                        <p:tgtEl>
                                          <p:spTgt spid="27"/>
                                        </p:tgtEl>
                                        <p:attrNameLst>
                                          <p:attrName>style.visibility</p:attrName>
                                        </p:attrNameLst>
                                      </p:cBhvr>
                                      <p:to>
                                        <p:strVal val="hidden"/>
                                      </p:to>
                                    </p:set>
                                  </p:childTnLst>
                                </p:cTn>
                              </p:par>
                              <p:par>
                                <p:cTn id="107" presetID="10" presetClass="entr" presetSubtype="0" fill="hold" grpId="1" nodeType="withEffect">
                                  <p:stCondLst>
                                    <p:cond delay="75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250"/>
                                        <p:tgtEl>
                                          <p:spTgt spid="31"/>
                                        </p:tgtEl>
                                      </p:cBhvr>
                                    </p:animEffect>
                                  </p:childTnLst>
                                </p:cTn>
                              </p:par>
                              <p:par>
                                <p:cTn id="110" presetID="42" presetClass="path" presetSubtype="0" accel="10000" decel="90000" fill="hold" grpId="0" nodeType="withEffect">
                                  <p:stCondLst>
                                    <p:cond delay="500"/>
                                  </p:stCondLst>
                                  <p:childTnLst>
                                    <p:animMotion origin="layout" path="M 3.6916E-6 -2.94598E-6 L -0.35334 -2.94598E-6 " pathEditMode="relative" rAng="0" ptsTypes="AA">
                                      <p:cBhvr>
                                        <p:cTn id="111" dur="2000" fill="hold"/>
                                        <p:tgtEl>
                                          <p:spTgt spid="31"/>
                                        </p:tgtEl>
                                        <p:attrNameLst>
                                          <p:attrName>ppt_x</p:attrName>
                                          <p:attrName>ppt_y</p:attrName>
                                        </p:attrNameLst>
                                      </p:cBhvr>
                                      <p:rCtr x="-17667" y="0"/>
                                    </p:animMotion>
                                  </p:childTnLst>
                                </p:cTn>
                              </p:par>
                              <p:par>
                                <p:cTn id="112" presetID="10" presetClass="entr" presetSubtype="0" fill="hold" grpId="0" nodeType="withEffect">
                                  <p:stCondLst>
                                    <p:cond delay="1000"/>
                                  </p:stCondLst>
                                  <p:childTnLst>
                                    <p:set>
                                      <p:cBhvr>
                                        <p:cTn id="113" dur="1" fill="hold">
                                          <p:stCondLst>
                                            <p:cond delay="0"/>
                                          </p:stCondLst>
                                        </p:cTn>
                                        <p:tgtEl>
                                          <p:spTgt spid="28"/>
                                        </p:tgtEl>
                                        <p:attrNameLst>
                                          <p:attrName>style.visibility</p:attrName>
                                        </p:attrNameLst>
                                      </p:cBhvr>
                                      <p:to>
                                        <p:strVal val="visible"/>
                                      </p:to>
                                    </p:set>
                                    <p:animEffect transition="in" filter="fade">
                                      <p:cBhvr>
                                        <p:cTn id="114" dur="250"/>
                                        <p:tgtEl>
                                          <p:spTgt spid="28"/>
                                        </p:tgtEl>
                                      </p:cBhvr>
                                    </p:animEffect>
                                  </p:childTnLst>
                                </p:cTn>
                              </p:par>
                              <p:par>
                                <p:cTn id="115" presetID="42" presetClass="path" presetSubtype="0" accel="10000" decel="90000" fill="hold" grpId="1" nodeType="withEffect">
                                  <p:stCondLst>
                                    <p:cond delay="500"/>
                                  </p:stCondLst>
                                  <p:childTnLst>
                                    <p:animMotion origin="layout" path="M 3.6916E-6 -2.94598E-6 L -0.35334 -2.94598E-6 " pathEditMode="relative" rAng="0" ptsTypes="AA">
                                      <p:cBhvr>
                                        <p:cTn id="116" dur="2000" fill="hold"/>
                                        <p:tgtEl>
                                          <p:spTgt spid="28"/>
                                        </p:tgtEl>
                                        <p:attrNameLst>
                                          <p:attrName>ppt_x</p:attrName>
                                          <p:attrName>ppt_y</p:attrName>
                                        </p:attrNameLst>
                                      </p:cBhvr>
                                      <p:rCtr x="-17667" y="0"/>
                                    </p:animMotion>
                                  </p:childTnLst>
                                </p:cTn>
                              </p:par>
                              <p:par>
                                <p:cTn id="117" presetID="10" presetClass="entr" presetSubtype="0" fill="hold" grpId="0" nodeType="withEffect">
                                  <p:stCondLst>
                                    <p:cond delay="1250"/>
                                  </p:stCondLst>
                                  <p:childTnLst>
                                    <p:set>
                                      <p:cBhvr>
                                        <p:cTn id="118" dur="1" fill="hold">
                                          <p:stCondLst>
                                            <p:cond delay="0"/>
                                          </p:stCondLst>
                                        </p:cTn>
                                        <p:tgtEl>
                                          <p:spTgt spid="29"/>
                                        </p:tgtEl>
                                        <p:attrNameLst>
                                          <p:attrName>style.visibility</p:attrName>
                                        </p:attrNameLst>
                                      </p:cBhvr>
                                      <p:to>
                                        <p:strVal val="visible"/>
                                      </p:to>
                                    </p:set>
                                    <p:animEffect transition="in" filter="fade">
                                      <p:cBhvr>
                                        <p:cTn id="119" dur="250"/>
                                        <p:tgtEl>
                                          <p:spTgt spid="29"/>
                                        </p:tgtEl>
                                      </p:cBhvr>
                                    </p:animEffect>
                                  </p:childTnLst>
                                </p:cTn>
                              </p:par>
                              <p:par>
                                <p:cTn id="120" presetID="42" presetClass="path" presetSubtype="0" accel="10000" decel="90000" fill="hold" grpId="1" nodeType="withEffect">
                                  <p:stCondLst>
                                    <p:cond delay="500"/>
                                  </p:stCondLst>
                                  <p:childTnLst>
                                    <p:animMotion origin="layout" path="M 3.6916E-6 -2.94598E-6 L -0.35334 -2.94598E-6 " pathEditMode="relative" rAng="0" ptsTypes="AA">
                                      <p:cBhvr>
                                        <p:cTn id="121" dur="2000" fill="hold"/>
                                        <p:tgtEl>
                                          <p:spTgt spid="29"/>
                                        </p:tgtEl>
                                        <p:attrNameLst>
                                          <p:attrName>ppt_x</p:attrName>
                                          <p:attrName>ppt_y</p:attrName>
                                        </p:attrNameLst>
                                      </p:cBhvr>
                                      <p:rCtr x="-17667" y="0"/>
                                    </p:animMotion>
                                  </p:childTnLst>
                                </p:cTn>
                              </p:par>
                              <p:par>
                                <p:cTn id="122" presetID="10" presetClass="entr" presetSubtype="0" fill="hold" grpId="0" nodeType="withEffect">
                                  <p:stCondLst>
                                    <p:cond delay="1500"/>
                                  </p:stCondLst>
                                  <p:childTnLst>
                                    <p:set>
                                      <p:cBhvr>
                                        <p:cTn id="123" dur="1" fill="hold">
                                          <p:stCondLst>
                                            <p:cond delay="0"/>
                                          </p:stCondLst>
                                        </p:cTn>
                                        <p:tgtEl>
                                          <p:spTgt spid="30"/>
                                        </p:tgtEl>
                                        <p:attrNameLst>
                                          <p:attrName>style.visibility</p:attrName>
                                        </p:attrNameLst>
                                      </p:cBhvr>
                                      <p:to>
                                        <p:strVal val="visible"/>
                                      </p:to>
                                    </p:set>
                                    <p:animEffect transition="in" filter="fade">
                                      <p:cBhvr>
                                        <p:cTn id="124" dur="250"/>
                                        <p:tgtEl>
                                          <p:spTgt spid="30"/>
                                        </p:tgtEl>
                                      </p:cBhvr>
                                    </p:animEffect>
                                  </p:childTnLst>
                                </p:cTn>
                              </p:par>
                              <p:par>
                                <p:cTn id="125" presetID="42" presetClass="path" presetSubtype="0" accel="10000" decel="90000" fill="hold" grpId="1" nodeType="withEffect">
                                  <p:stCondLst>
                                    <p:cond delay="500"/>
                                  </p:stCondLst>
                                  <p:childTnLst>
                                    <p:animMotion origin="layout" path="M 3.6916E-6 -2.94598E-6 L -0.35334 -2.94598E-6 " pathEditMode="relative" rAng="0" ptsTypes="AA">
                                      <p:cBhvr>
                                        <p:cTn id="126" dur="2000" fill="hold"/>
                                        <p:tgtEl>
                                          <p:spTgt spid="30"/>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P spid="3" grpId="0" animBg="1"/>
      <p:bldP spid="3" grpId="1" animBg="1"/>
      <p:bldP spid="2" grpId="0"/>
      <p:bldP spid="2" grpId="1"/>
      <p:bldP spid="2" grpId="2"/>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61316" y="2589321"/>
            <a:ext cx="5628321" cy="1200329"/>
          </a:xfrm>
          <a:prstGeom prst="rect">
            <a:avLst/>
          </a:prstGeom>
        </p:spPr>
        <p:txBody>
          <a:bodyPr wrap="square">
            <a:spAutoFit/>
          </a:bodyPr>
          <a:lstStyle/>
          <a:p>
            <a:r>
              <a:rPr lang="en-US" sz="2400" dirty="0">
                <a:gradFill>
                  <a:gsLst>
                    <a:gs pos="0">
                      <a:srgbClr val="FFFFFF"/>
                    </a:gs>
                    <a:gs pos="100000">
                      <a:srgbClr val="FFFFFF"/>
                    </a:gs>
                  </a:gsLst>
                  <a:lin ang="5400000" scaled="0"/>
                </a:gradFill>
              </a:rPr>
              <a:t>A fully managed Big Data and Advanced Analytics Suite that transforms your data into intelligent action.</a:t>
            </a:r>
          </a:p>
        </p:txBody>
      </p:sp>
      <p:pic>
        <p:nvPicPr>
          <p:cNvPr id="2" name="Picture Placeholder 1"/>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3426" r="36832"/>
          <a:stretch/>
        </p:blipFill>
        <p:spPr>
          <a:xfrm>
            <a:off x="6219825" y="-7938"/>
            <a:ext cx="6216650" cy="7010400"/>
          </a:xfrm>
        </p:spPr>
      </p:pic>
      <p:sp>
        <p:nvSpPr>
          <p:cNvPr id="7" name="Title 3"/>
          <p:cNvSpPr>
            <a:spLocks noGrp="1"/>
          </p:cNvSpPr>
          <p:nvPr>
            <p:ph type="title"/>
          </p:nvPr>
        </p:nvSpPr>
        <p:spPr>
          <a:xfrm>
            <a:off x="0" y="754062"/>
            <a:ext cx="6219825" cy="849463"/>
          </a:xfrm>
        </p:spPr>
        <p:txBody>
          <a:bodyPr/>
          <a:lstStyle/>
          <a:p>
            <a:pPr algn="ctr"/>
            <a:r>
              <a:rPr lang="en-US" sz="4800" dirty="0"/>
              <a:t>Cortana Analytics Suite</a:t>
            </a:r>
            <a:endParaRPr lang="en-US" sz="3200" dirty="0"/>
          </a:p>
        </p:txBody>
      </p:sp>
    </p:spTree>
    <p:extLst>
      <p:ext uri="{BB962C8B-B14F-4D97-AF65-F5344CB8AC3E}">
        <p14:creationId xmlns:p14="http://schemas.microsoft.com/office/powerpoint/2010/main" val="190941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Cortana Analytics Suite</a:t>
            </a:r>
            <a:br>
              <a:rPr lang="en-US" dirty="0"/>
            </a:br>
            <a:r>
              <a:rPr lang="en-US" sz="3599" dirty="0"/>
              <a:t>Transform data into intelligent action</a:t>
            </a:r>
          </a:p>
        </p:txBody>
      </p:sp>
      <p:grpSp>
        <p:nvGrpSpPr>
          <p:cNvPr id="4" name="Group 3"/>
          <p:cNvGrpSpPr/>
          <p:nvPr/>
        </p:nvGrpSpPr>
        <p:grpSpPr>
          <a:xfrm>
            <a:off x="1470088" y="1994392"/>
            <a:ext cx="3095325" cy="4450613"/>
            <a:chOff x="1440529" y="1955464"/>
            <a:chExt cx="3034908" cy="4363742"/>
          </a:xfrm>
        </p:grpSpPr>
        <p:sp>
          <p:nvSpPr>
            <p:cNvPr id="20" name="Rectangle 19"/>
            <p:cNvSpPr/>
            <p:nvPr/>
          </p:nvSpPr>
          <p:spPr>
            <a:xfrm>
              <a:off x="1878539" y="5957083"/>
              <a:ext cx="691743"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cxnSp>
          <p:nvCxnSpPr>
            <p:cNvPr id="278" name="Straight Connector 277"/>
            <p:cNvCxnSpPr/>
            <p:nvPr/>
          </p:nvCxnSpPr>
          <p:spPr>
            <a:xfrm>
              <a:off x="3840419" y="2336053"/>
              <a:ext cx="0" cy="2816542"/>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3123279" y="2336053"/>
              <a:ext cx="71714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3123280" y="3736973"/>
              <a:ext cx="1352157"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3123279" y="5152595"/>
              <a:ext cx="717140"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1440529" y="2103335"/>
              <a:ext cx="601699" cy="476012"/>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3" name="TextBox 2"/>
            <p:cNvSpPr txBox="1"/>
            <p:nvPr/>
          </p:nvSpPr>
          <p:spPr>
            <a:xfrm>
              <a:off x="1990832" y="1955464"/>
              <a:ext cx="1215680" cy="788255"/>
            </a:xfrm>
            <a:prstGeom prst="rect">
              <a:avLst/>
            </a:prstGeom>
            <a:noFill/>
          </p:spPr>
          <p:txBody>
            <a:bodyPr wrap="square" lIns="182854" tIns="146283" rIns="182854" bIns="146283" rtlCol="0">
              <a:spAutoFit/>
            </a:bodyPr>
            <a:lstStyle/>
            <a:p>
              <a:pPr defTabSz="932563">
                <a:lnSpc>
                  <a:spcPct val="90000"/>
                </a:lnSpc>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pps</a:t>
              </a:r>
            </a:p>
          </p:txBody>
        </p:sp>
        <p:sp>
          <p:nvSpPr>
            <p:cNvPr id="106" name="TextBox 105"/>
            <p:cNvSpPr txBox="1"/>
            <p:nvPr/>
          </p:nvSpPr>
          <p:spPr>
            <a:xfrm>
              <a:off x="2024871" y="3374120"/>
              <a:ext cx="1215680" cy="788255"/>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pps</a:t>
              </a:r>
            </a:p>
          </p:txBody>
        </p:sp>
        <p:sp>
          <p:nvSpPr>
            <p:cNvPr id="107" name="Freeform 53"/>
            <p:cNvSpPr>
              <a:spLocks noEditPoints="1"/>
            </p:cNvSpPr>
            <p:nvPr/>
          </p:nvSpPr>
          <p:spPr bwMode="auto">
            <a:xfrm>
              <a:off x="1583768" y="3451360"/>
              <a:ext cx="443134" cy="63245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0" name="TextBox 109"/>
            <p:cNvSpPr txBox="1"/>
            <p:nvPr/>
          </p:nvSpPr>
          <p:spPr>
            <a:xfrm>
              <a:off x="2036219" y="4614554"/>
              <a:ext cx="1520869" cy="1037554"/>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t>
              </a:r>
              <a:b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ices</a:t>
              </a:r>
            </a:p>
          </p:txBody>
        </p:sp>
        <p:sp>
          <p:nvSpPr>
            <p:cNvPr id="111" name="Freeform 16"/>
            <p:cNvSpPr>
              <a:spLocks noChangeAspect="1" noEditPoints="1"/>
            </p:cNvSpPr>
            <p:nvPr/>
          </p:nvSpPr>
          <p:spPr bwMode="auto">
            <a:xfrm>
              <a:off x="1494020" y="4884263"/>
              <a:ext cx="565690" cy="520145"/>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grpSp>
        <p:nvGrpSpPr>
          <p:cNvPr id="11" name="Group 10"/>
          <p:cNvGrpSpPr/>
          <p:nvPr/>
        </p:nvGrpSpPr>
        <p:grpSpPr>
          <a:xfrm>
            <a:off x="6971002" y="2202853"/>
            <a:ext cx="4150729" cy="4237886"/>
            <a:chOff x="6834073" y="2159856"/>
            <a:chExt cx="4069713" cy="4155168"/>
          </a:xfrm>
        </p:grpSpPr>
        <p:sp>
          <p:nvSpPr>
            <p:cNvPr id="22" name="Rectangle 21"/>
            <p:cNvSpPr/>
            <p:nvPr/>
          </p:nvSpPr>
          <p:spPr>
            <a:xfrm>
              <a:off x="9416373" y="5952901"/>
              <a:ext cx="950762"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cxnSp>
          <p:nvCxnSpPr>
            <p:cNvPr id="290" name="Straight Connector 289"/>
            <p:cNvCxnSpPr/>
            <p:nvPr/>
          </p:nvCxnSpPr>
          <p:spPr>
            <a:xfrm>
              <a:off x="7806991" y="2498338"/>
              <a:ext cx="0" cy="2479174"/>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7277555" y="3736973"/>
              <a:ext cx="529437"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7821577" y="2498338"/>
              <a:ext cx="554393"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7821577" y="4977512"/>
              <a:ext cx="554393" cy="0"/>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8626466" y="2159856"/>
              <a:ext cx="449238" cy="579337"/>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19" name="TextBox 118"/>
            <p:cNvSpPr txBox="1"/>
            <p:nvPr/>
          </p:nvSpPr>
          <p:spPr>
            <a:xfrm>
              <a:off x="9114592" y="2182085"/>
              <a:ext cx="1215680" cy="534056"/>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nvGrpSpPr>
            <p:cNvPr id="10" name="Group 9"/>
            <p:cNvGrpSpPr/>
            <p:nvPr/>
          </p:nvGrpSpPr>
          <p:grpSpPr>
            <a:xfrm>
              <a:off x="8626466" y="4526543"/>
              <a:ext cx="493880" cy="768101"/>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24" name="TextBox 123"/>
            <p:cNvSpPr txBox="1"/>
            <p:nvPr/>
          </p:nvSpPr>
          <p:spPr>
            <a:xfrm>
              <a:off x="9114592" y="4584707"/>
              <a:ext cx="1789194" cy="788255"/>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Systems</a:t>
              </a:r>
            </a:p>
          </p:txBody>
        </p:sp>
        <p:sp>
          <p:nvSpPr>
            <p:cNvPr id="37" name="Right Arrow 36"/>
            <p:cNvSpPr/>
            <p:nvPr/>
          </p:nvSpPr>
          <p:spPr bwMode="auto">
            <a:xfrm>
              <a:off x="6834073" y="5991814"/>
              <a:ext cx="2388073" cy="25454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2839094" y="3083648"/>
            <a:ext cx="4129554" cy="3361356"/>
            <a:chOff x="2839094" y="3083648"/>
            <a:chExt cx="4129554" cy="3361356"/>
          </a:xfrm>
        </p:grpSpPr>
        <p:grpSp>
          <p:nvGrpSpPr>
            <p:cNvPr id="6" name="Group 5"/>
            <p:cNvGrpSpPr/>
            <p:nvPr/>
          </p:nvGrpSpPr>
          <p:grpSpPr>
            <a:xfrm>
              <a:off x="2839094" y="3083648"/>
              <a:ext cx="4129554" cy="3361356"/>
              <a:chOff x="2782813" y="3023459"/>
              <a:chExt cx="4048949" cy="3295746"/>
            </a:xfrm>
          </p:grpSpPr>
          <p:sp>
            <p:nvSpPr>
              <p:cNvPr id="21" name="Rectangle 20"/>
              <p:cNvSpPr/>
              <p:nvPr/>
            </p:nvSpPr>
            <p:spPr>
              <a:xfrm>
                <a:off x="5228956" y="5957082"/>
                <a:ext cx="1540908" cy="362123"/>
              </a:xfrm>
              <a:prstGeom prst="rect">
                <a:avLst/>
              </a:prstGeom>
            </p:spPr>
            <p:txBody>
              <a:bodyPr wrap="none">
                <a:spAutoFit/>
              </a:bodyPr>
              <a:lstStyle/>
              <a:p>
                <a:pPr algn="ctr" defTabSz="725012">
                  <a:spcBef>
                    <a:spcPct val="0"/>
                  </a:spcBef>
                  <a:spcAft>
                    <a:spcPct val="35000"/>
                  </a:spcAft>
                </a:pPr>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113" name="Freeform 539"/>
              <p:cNvSpPr>
                <a:spLocks noChangeAspect="1"/>
              </p:cNvSpPr>
              <p:nvPr/>
            </p:nvSpPr>
            <p:spPr bwMode="auto">
              <a:xfrm>
                <a:off x="4866845" y="3023459"/>
                <a:ext cx="1964917" cy="10802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6" name="TextBox 115"/>
              <p:cNvSpPr txBox="1"/>
              <p:nvPr/>
            </p:nvSpPr>
            <p:spPr>
              <a:xfrm>
                <a:off x="5002715" y="4080152"/>
                <a:ext cx="1744422" cy="843655"/>
              </a:xfrm>
              <a:prstGeom prst="rect">
                <a:avLst/>
              </a:prstGeom>
              <a:noFill/>
            </p:spPr>
            <p:txBody>
              <a:bodyPr wrap="square" lIns="182854" tIns="146283" rIns="182854" bIns="146283" rtlCol="0">
                <a:spAutoFit/>
              </a:bodyPr>
              <a:lstStyle/>
              <a:p>
                <a:pPr algn="ctr" defTabSz="725012">
                  <a:spcBef>
                    <a:spcPct val="0"/>
                  </a:spcBef>
                  <a:spcAft>
                    <a:spcPct val="35000"/>
                  </a:spcAft>
                </a:pPr>
                <a:r>
                  <a:rPr lang="en-US"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 Analytics</a:t>
                </a:r>
              </a:p>
            </p:txBody>
          </p:sp>
          <p:sp>
            <p:nvSpPr>
              <p:cNvPr id="2" name="Right Arrow 1"/>
              <p:cNvSpPr/>
              <p:nvPr/>
            </p:nvSpPr>
            <p:spPr bwMode="auto">
              <a:xfrm>
                <a:off x="2782813" y="5999021"/>
                <a:ext cx="2388073" cy="25454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7" name="Picture 6"/>
            <p:cNvPicPr>
              <a:picLocks noChangeAspect="1"/>
            </p:cNvPicPr>
            <p:nvPr/>
          </p:nvPicPr>
          <p:blipFill>
            <a:blip r:embed="rId3">
              <a:duotone>
                <a:prstClr val="black"/>
                <a:schemeClr val="accent1">
                  <a:tint val="45000"/>
                  <a:satMod val="400000"/>
                </a:schemeClr>
              </a:duotone>
              <a:lum bright="-34000"/>
              <a:extLst>
                <a:ext uri="{28A0092B-C50C-407E-A947-70E740481C1C}">
                  <a14:useLocalDpi xmlns:a14="http://schemas.microsoft.com/office/drawing/2010/main" val="0"/>
                </a:ext>
              </a:extLst>
            </a:blip>
            <a:stretch>
              <a:fillRect/>
            </a:stretch>
          </p:blipFill>
          <p:spPr>
            <a:xfrm>
              <a:off x="5811731" y="3401818"/>
              <a:ext cx="362064" cy="628844"/>
            </a:xfrm>
            <a:prstGeom prst="rect">
              <a:avLst/>
            </a:prstGeom>
          </p:spPr>
        </p:pic>
      </p:grpSp>
    </p:spTree>
    <p:extLst>
      <p:ext uri="{BB962C8B-B14F-4D97-AF65-F5344CB8AC3E}">
        <p14:creationId xmlns:p14="http://schemas.microsoft.com/office/powerpoint/2010/main" val="2507085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611830" y="2367219"/>
            <a:ext cx="472961" cy="217620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619591" y="5254388"/>
            <a:ext cx="530630" cy="65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538017" y="5105507"/>
            <a:ext cx="2137748" cy="1005840"/>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15" name="Group 14"/>
          <p:cNvGrpSpPr/>
          <p:nvPr/>
        </p:nvGrpSpPr>
        <p:grpSpPr>
          <a:xfrm>
            <a:off x="8538016" y="3991887"/>
            <a:ext cx="2137749" cy="1005840"/>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8139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527913" y="2888721"/>
            <a:ext cx="2147853" cy="1005840"/>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538017" y="1787678"/>
            <a:ext cx="2137750" cy="1005840"/>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6" name="Rectangle 85"/>
            <p:cNvSpPr/>
            <p:nvPr/>
          </p:nvSpPr>
          <p:spPr>
            <a:xfrm>
              <a:off x="9204619" y="2421304"/>
              <a:ext cx="726096" cy="276999"/>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sp>
        <p:nvSpPr>
          <p:cNvPr id="183" name="Freeform 389"/>
          <p:cNvSpPr>
            <a:spLocks noEditPoints="1"/>
          </p:cNvSpPr>
          <p:nvPr/>
        </p:nvSpPr>
        <p:spPr bwMode="auto">
          <a:xfrm>
            <a:off x="9064667" y="345088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5" name="Title 1"/>
          <p:cNvSpPr>
            <a:spLocks noGrp="1"/>
          </p:cNvSpPr>
          <p:nvPr>
            <p:ph type="title"/>
          </p:nvPr>
        </p:nvSpPr>
        <p:spPr>
          <a:prstGeom prst="rect">
            <a:avLst/>
          </a:prstGeom>
        </p:spPr>
        <p:txBody>
          <a:bodyPr/>
          <a:lstStyle/>
          <a:p>
            <a:r>
              <a:rPr lang="en-US" dirty="0"/>
              <a:t>Cortana Analytics Suite</a:t>
            </a:r>
            <a:br>
              <a:rPr lang="en-US" dirty="0"/>
            </a:br>
            <a:r>
              <a:rPr lang="en-US" sz="3599" dirty="0"/>
              <a:t>Transform data into intelligent action</a:t>
            </a:r>
          </a:p>
        </p:txBody>
      </p:sp>
      <p:sp>
        <p:nvSpPr>
          <p:cNvPr id="20" name="Rectangle 19"/>
          <p:cNvSpPr/>
          <p:nvPr/>
        </p:nvSpPr>
        <p:spPr>
          <a:xfrm>
            <a:off x="401528" y="6200099"/>
            <a:ext cx="655144"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6231" y="2132701"/>
            <a:ext cx="1551146" cy="3814147"/>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3" name="TextBox 2"/>
            <p:cNvSpPr txBox="1"/>
            <p:nvPr/>
          </p:nvSpPr>
          <p:spPr>
            <a:xfrm>
              <a:off x="290952" y="2519818"/>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0" name="TextBox 109"/>
            <p:cNvSpPr txBox="1"/>
            <p:nvPr/>
          </p:nvSpPr>
          <p:spPr>
            <a:xfrm>
              <a:off x="276231" y="5332876"/>
              <a:ext cx="1551146"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21" name="Rectangle 20"/>
          <p:cNvSpPr/>
          <p:nvPr/>
        </p:nvSpPr>
        <p:spPr>
          <a:xfrm>
            <a:off x="5226134" y="6200099"/>
            <a:ext cx="1436110"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55267" y="6239543"/>
            <a:ext cx="3484983"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1134322" y="6200099"/>
            <a:ext cx="894496" cy="345163"/>
          </a:xfrm>
          <a:prstGeom prst="rect">
            <a:avLst/>
          </a:prstGeom>
        </p:spPr>
        <p:txBody>
          <a:bodyPr wrap="none">
            <a:spAutoFit/>
          </a:bodyPr>
          <a:lstStyle/>
          <a:p>
            <a:pPr algn="ctr" defTabSz="725012">
              <a:spcBef>
                <a:spcPct val="0"/>
              </a:spcBef>
              <a:spcAft>
                <a:spcPct val="35000"/>
              </a:spcAft>
            </a:pPr>
            <a:r>
              <a:rPr lang="en-US" sz="1599"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920388" y="3076176"/>
            <a:ext cx="1239881" cy="1054416"/>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19" name="TextBox 118"/>
            <p:cNvSpPr txBox="1"/>
            <p:nvPr/>
          </p:nvSpPr>
          <p:spPr>
            <a:xfrm>
              <a:off x="10920388" y="3380620"/>
              <a:ext cx="1239881" cy="454697"/>
            </a:xfrm>
            <a:prstGeom prst="rect">
              <a:avLst/>
            </a:prstGeom>
            <a:noFill/>
          </p:spPr>
          <p:txBody>
            <a:bodyPr wrap="square" lIns="182854" tIns="146283" rIns="182854" bIns="146283" rtlCol="0">
              <a:spAutoFit/>
            </a:bodyPr>
            <a:lstStyle/>
            <a:p>
              <a:pPr algn="ct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1084791" y="4760710"/>
            <a:ext cx="1077047" cy="130865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333333"/>
                  </a:solidFill>
                </a:endParaRPr>
              </a:p>
            </p:txBody>
          </p:sp>
        </p:grpSp>
        <p:sp>
          <p:nvSpPr>
            <p:cNvPr id="124" name="TextBox 123"/>
            <p:cNvSpPr txBox="1"/>
            <p:nvPr/>
          </p:nvSpPr>
          <p:spPr>
            <a:xfrm>
              <a:off x="11084791" y="5455396"/>
              <a:ext cx="1077047" cy="613972"/>
            </a:xfrm>
            <a:prstGeom prst="rect">
              <a:avLst/>
            </a:prstGeom>
            <a:noFill/>
          </p:spPr>
          <p:txBody>
            <a:bodyPr wrap="square" lIns="182854" tIns="146283" rIns="182854" bIns="146283" rtlCol="0">
              <a:spAutoFit/>
            </a:bodyPr>
            <a:lstStyle/>
            <a:p>
              <a:pPr defTabSz="932563">
                <a:lnSpc>
                  <a:spcPct val="90000"/>
                </a:lnSpc>
                <a:spcBef>
                  <a:spcPct val="0"/>
                </a:spcBef>
                <a:spcAft>
                  <a:spcPts val="600"/>
                </a:spcAft>
              </a:pP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784714" y="6239543"/>
            <a:ext cx="3826066" cy="2596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4015367" y="1790395"/>
            <a:ext cx="2374749" cy="4320099"/>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 store</a:t>
              </a:r>
              <a:endParaRPr lang="en-US" sz="1200" dirty="0">
                <a:gradFill>
                  <a:gsLst>
                    <a:gs pos="0">
                      <a:srgbClr val="FFFFFF"/>
                    </a:gs>
                    <a:gs pos="100000">
                      <a:srgbClr val="FFFFFF"/>
                    </a:gs>
                  </a:gsLst>
                  <a:lin ang="5400000" scaled="0"/>
                </a:gradFill>
              </a:endParaRPr>
            </a:p>
          </p:txBody>
        </p:sp>
        <p:sp>
          <p:nvSpPr>
            <p:cNvPr id="82" name="Rectangle 81"/>
            <p:cNvSpPr/>
            <p:nvPr/>
          </p:nvSpPr>
          <p:spPr>
            <a:xfrm>
              <a:off x="4489683" y="4446182"/>
              <a:ext cx="1463542" cy="453970"/>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r>
                <a:rPr lang="en-US" sz="115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50" dirty="0">
                <a:gradFill>
                  <a:gsLst>
                    <a:gs pos="0">
                      <a:srgbClr val="FFFFFF"/>
                    </a:gs>
                    <a:gs pos="100000">
                      <a:srgbClr val="FFFFFF"/>
                    </a:gs>
                  </a:gsLst>
                  <a:lin ang="5400000" scaled="0"/>
                </a:gradFill>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55266" y="1790395"/>
            <a:ext cx="2372301" cy="4320099"/>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895648" fontAlgn="base">
                <a:spcBef>
                  <a:spcPct val="0"/>
                </a:spcBef>
                <a:spcAft>
                  <a:spcPct val="0"/>
                </a:spcAft>
                <a:defRPr/>
              </a:pPr>
              <a:endParaRPr lang="en-US" sz="1665" kern="0" dirty="0">
                <a:solidFill>
                  <a:srgbClr val="000000"/>
                </a:solidFill>
                <a:ea typeface="MS PGothic" charset="0"/>
              </a:endParaRPr>
            </a:p>
          </p:txBody>
        </p:sp>
        <p:pic>
          <p:nvPicPr>
            <p:cNvPr id="78" name="Picture 7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200" dirty="0">
                <a:gradFill>
                  <a:gsLst>
                    <a:gs pos="0">
                      <a:srgbClr val="FFFFFF"/>
                    </a:gs>
                    <a:gs pos="100000">
                      <a:srgbClr val="FFFFFF"/>
                    </a:gs>
                  </a:gsLst>
                  <a:lin ang="5400000" scaled="0"/>
                </a:gradFill>
              </a:endParaRPr>
            </a:p>
          </p:txBody>
        </p:sp>
        <p:sp>
          <p:nvSpPr>
            <p:cNvPr id="79" name="Rectangle 78"/>
            <p:cNvSpPr/>
            <p:nvPr/>
          </p:nvSpPr>
          <p:spPr>
            <a:xfrm>
              <a:off x="2295424" y="3922283"/>
              <a:ext cx="999313"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200" dirty="0">
                <a:gradFill>
                  <a:gsLst>
                    <a:gs pos="0">
                      <a:srgbClr val="FFFFFF"/>
                    </a:gs>
                    <a:gs pos="100000">
                      <a:srgbClr val="FFFFFF"/>
                    </a:gs>
                  </a:gsLst>
                  <a:lin ang="5400000" scaled="0"/>
                </a:gradFill>
              </a:endParaRPr>
            </a:p>
          </p:txBody>
        </p:sp>
        <p:sp>
          <p:nvSpPr>
            <p:cNvPr id="80" name="Rectangle 79"/>
            <p:cNvSpPr/>
            <p:nvPr/>
          </p:nvSpPr>
          <p:spPr>
            <a:xfrm>
              <a:off x="2295424" y="4954772"/>
              <a:ext cx="833626"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200" dirty="0">
                <a:gradFill>
                  <a:gsLst>
                    <a:gs pos="0">
                      <a:srgbClr val="FFFFFF"/>
                    </a:gs>
                    <a:gs pos="100000">
                      <a:srgbClr val="FFFFFF"/>
                    </a:gs>
                  </a:gsLst>
                  <a:lin ang="5400000" scaled="0"/>
                </a:gradFill>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8" name="Group 27"/>
          <p:cNvGrpSpPr/>
          <p:nvPr/>
        </p:nvGrpSpPr>
        <p:grpSpPr>
          <a:xfrm>
            <a:off x="6277916" y="1790395"/>
            <a:ext cx="2370146" cy="4320099"/>
            <a:chOff x="6277916" y="1790395"/>
            <a:chExt cx="2370146" cy="4320099"/>
          </a:xfrm>
        </p:grpSpPr>
        <p:grpSp>
          <p:nvGrpSpPr>
            <p:cNvPr id="24" name="Group 23"/>
            <p:cNvGrpSpPr/>
            <p:nvPr/>
          </p:nvGrpSpPr>
          <p:grpSpPr>
            <a:xfrm>
              <a:off x="6277916" y="1790395"/>
              <a:ext cx="2370146" cy="4320099"/>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281" tIns="45713" rIns="18281" bIns="91401" numCol="1" spcCol="1270" anchor="t" anchorCtr="0">
                <a:noAutofit/>
              </a:bodyPr>
              <a:lstStyle/>
              <a:p>
                <a:pPr algn="ctr" defTabSz="725012">
                  <a:spcBef>
                    <a:spcPct val="0"/>
                  </a:spcBef>
                  <a:spcAft>
                    <a:spcPct val="35000"/>
                  </a:spcAft>
                </a:pP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600"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25997" y="4293375"/>
                <a:ext cx="1457831" cy="461665"/>
              </a:xfrm>
              <a:prstGeom prst="rect">
                <a:avLst/>
              </a:prstGeom>
            </p:spPr>
            <p:txBody>
              <a:bodyPr wrap="squar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HDInsight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adoop and Spark)</a:t>
                </a:r>
              </a:p>
            </p:txBody>
          </p:sp>
          <p:sp>
            <p:nvSpPr>
              <p:cNvPr id="85" name="Rectangle 84"/>
              <p:cNvSpPr/>
              <p:nvPr/>
            </p:nvSpPr>
            <p:spPr>
              <a:xfrm>
                <a:off x="6844706" y="4954772"/>
                <a:ext cx="1205010" cy="461665"/>
              </a:xfrm>
              <a:prstGeom prst="rect">
                <a:avLst/>
              </a:prstGeom>
            </p:spPr>
            <p:txBody>
              <a:bodyPr wrap="non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r>
                  <a:rPr lang="en-US" sz="1200"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3" name="Rectangle 142"/>
            <p:cNvSpPr/>
            <p:nvPr/>
          </p:nvSpPr>
          <p:spPr>
            <a:xfrm>
              <a:off x="6835858" y="3582482"/>
              <a:ext cx="1640883" cy="461665"/>
            </a:xfrm>
            <a:prstGeom prst="rect">
              <a:avLst/>
            </a:prstGeom>
          </p:spPr>
          <p:txBody>
            <a:bodyPr wrap="square">
              <a:spAutoFit/>
            </a:bodyPr>
            <a:lstStyle/>
            <a:p>
              <a:r>
                <a:rPr lang="en-US" sz="1200" spc="-30"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p>
          </p:txBody>
        </p:sp>
        <p:pic>
          <p:nvPicPr>
            <p:cNvPr id="163" name="Picture 2" descr="image001"/>
            <p:cNvPicPr>
              <a:picLocks noChangeAspect="1" noChangeArrowheads="1"/>
            </p:cNvPicPr>
            <p:nvPr/>
          </p:nvPicPr>
          <p:blipFill rotWithShape="1">
            <a:blip r:embed="rId10">
              <a:extLst>
                <a:ext uri="{28A0092B-C50C-407E-A947-70E740481C1C}">
                  <a14:useLocalDpi xmlns:a14="http://schemas.microsoft.com/office/drawing/2010/main" val="0"/>
                </a:ext>
              </a:extLst>
            </a:blip>
            <a:srcRect l="2047" t="10154" r="91093" b="54655"/>
            <a:stretch/>
          </p:blipFill>
          <p:spPr bwMode="auto">
            <a:xfrm>
              <a:off x="6361717" y="3590948"/>
              <a:ext cx="453623" cy="469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Rectangle 12"/>
          <p:cNvSpPr/>
          <p:nvPr/>
        </p:nvSpPr>
        <p:spPr>
          <a:xfrm>
            <a:off x="2345537" y="6426453"/>
            <a:ext cx="898964" cy="369332"/>
          </a:xfrm>
          <a:prstGeom prst="rect">
            <a:avLst/>
          </a:prstGeom>
        </p:spPr>
        <p:txBody>
          <a:bodyPr wrap="none">
            <a:spAutoFit/>
          </a:bodyPr>
          <a:lstStyle/>
          <a:p>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GEST</a:t>
            </a:r>
            <a:endParaRPr lang="en-GB" dirty="0"/>
          </a:p>
        </p:txBody>
      </p:sp>
      <p:sp>
        <p:nvSpPr>
          <p:cNvPr id="23" name="Rectangle 22"/>
          <p:cNvSpPr/>
          <p:nvPr/>
        </p:nvSpPr>
        <p:spPr>
          <a:xfrm>
            <a:off x="4667719" y="6426453"/>
            <a:ext cx="817083" cy="369332"/>
          </a:xfrm>
          <a:prstGeom prst="rect">
            <a:avLst/>
          </a:prstGeom>
        </p:spPr>
        <p:txBody>
          <a:bodyPr wrap="none">
            <a:spAutoFit/>
          </a:bodyPr>
          <a:lstStyle/>
          <a:p>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ORE</a:t>
            </a:r>
            <a:endParaRPr lang="en-GB" dirty="0"/>
          </a:p>
        </p:txBody>
      </p:sp>
      <p:sp>
        <p:nvSpPr>
          <p:cNvPr id="26" name="Rectangle 25"/>
          <p:cNvSpPr/>
          <p:nvPr/>
        </p:nvSpPr>
        <p:spPr>
          <a:xfrm>
            <a:off x="6780994" y="6429586"/>
            <a:ext cx="1071512" cy="369332"/>
          </a:xfrm>
          <a:prstGeom prst="rect">
            <a:avLst/>
          </a:prstGeom>
        </p:spPr>
        <p:txBody>
          <a:bodyPr wrap="none">
            <a:spAutoFit/>
          </a:bodyPr>
          <a:lstStyle/>
          <a:p>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ALYSE</a:t>
            </a:r>
            <a:endParaRPr lang="en-GB" dirty="0"/>
          </a:p>
        </p:txBody>
      </p:sp>
      <p:sp>
        <p:nvSpPr>
          <p:cNvPr id="27" name="Rectangle 26"/>
          <p:cNvSpPr/>
          <p:nvPr/>
        </p:nvSpPr>
        <p:spPr>
          <a:xfrm>
            <a:off x="9075631" y="6428914"/>
            <a:ext cx="947952" cy="369332"/>
          </a:xfrm>
          <a:prstGeom prst="rect">
            <a:avLst/>
          </a:prstGeom>
        </p:spPr>
        <p:txBody>
          <a:bodyPr wrap="none">
            <a:spAutoFit/>
          </a:bodyPr>
          <a:lstStyle/>
          <a:p>
            <a:r>
              <a:rPr lang="en-US" b="1" spc="-3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POSE</a:t>
            </a:r>
            <a:endParaRPr lang="en-GB" dirty="0"/>
          </a:p>
        </p:txBody>
      </p:sp>
    </p:spTree>
    <p:extLst>
      <p:ext uri="{BB962C8B-B14F-4D97-AF65-F5344CB8AC3E}">
        <p14:creationId xmlns:p14="http://schemas.microsoft.com/office/powerpoint/2010/main" val="4100398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500"/>
                                        <p:tgtEl>
                                          <p:spTgt spid="2"/>
                                        </p:tgtEl>
                                      </p:cBhvr>
                                    </p:animEffect>
                                  </p:childTnLst>
                                </p:cTn>
                              </p:par>
                              <p:par>
                                <p:cTn id="18" presetID="10" presetClass="entr" presetSubtype="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12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200"/>
                            </p:stCondLst>
                            <p:childTnLst>
                              <p:par>
                                <p:cTn id="25" presetID="10" presetClass="entr" presetSubtype="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left)">
                                      <p:cBhvr>
                                        <p:cTn id="30" dur="1600"/>
                                        <p:tgtEl>
                                          <p:spTgt spid="37"/>
                                        </p:tgtEl>
                                      </p:cBhvr>
                                    </p:animEffect>
                                  </p:childTnLst>
                                </p:cTn>
                              </p:par>
                            </p:childTnLst>
                          </p:cTn>
                        </p:par>
                        <p:par>
                          <p:cTn id="31" fill="hold">
                            <p:stCondLst>
                              <p:cond delay="38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par>
                          <p:cTn id="35" fill="hold">
                            <p:stCondLst>
                              <p:cond delay="430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48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5300"/>
                            </p:stCondLst>
                            <p:childTnLst>
                              <p:par>
                                <p:cTn id="44" presetID="10" presetClass="entr" presetSubtype="0"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par>
                          <p:cTn id="47" fill="hold">
                            <p:stCondLst>
                              <p:cond delay="5800"/>
                            </p:stCondLst>
                            <p:childTnLst>
                              <p:par>
                                <p:cTn id="48" presetID="22" presetClass="entr" presetSubtype="8"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wipe(left)">
                                      <p:cBhvr>
                                        <p:cTn id="50" dur="500"/>
                                        <p:tgtEl>
                                          <p:spTgt spid="17"/>
                                        </p:tgtEl>
                                      </p:cBhvr>
                                    </p:animEffect>
                                  </p:childTnLst>
                                </p:cTn>
                              </p:par>
                              <p:par>
                                <p:cTn id="51" presetID="22" presetClass="entr" presetSubtype="4" fill="hold" nodeType="with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down)">
                                      <p:cBhvr>
                                        <p:cTn id="53" dur="500"/>
                                        <p:tgtEl>
                                          <p:spTgt spid="113"/>
                                        </p:tgtEl>
                                      </p:cBhvr>
                                    </p:animEffect>
                                  </p:childTnLst>
                                </p:cTn>
                              </p:par>
                            </p:childTnLst>
                          </p:cTn>
                        </p:par>
                        <p:par>
                          <p:cTn id="54" fill="hold">
                            <p:stCondLst>
                              <p:cond delay="6300"/>
                            </p:stCondLst>
                            <p:childTnLst>
                              <p:par>
                                <p:cTn id="55" presetID="10" presetClass="entr" presetSubtype="0"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3"/>
                                        </p:tgtEl>
                                        <p:attrNameLst>
                                          <p:attrName>style.visibility</p:attrName>
                                        </p:attrNameLst>
                                      </p:cBhvr>
                                      <p:to>
                                        <p:strVal val="visible"/>
                                      </p:to>
                                    </p:set>
                                    <p:animEffect transition="in" filter="fade">
                                      <p:cBhvr>
                                        <p:cTn id="68" dur="500"/>
                                        <p:tgtEl>
                                          <p:spTgt spid="13"/>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26"/>
                                        </p:tgtEl>
                                        <p:attrNameLst>
                                          <p:attrName>style.visibility</p:attrName>
                                        </p:attrNameLst>
                                      </p:cBhvr>
                                      <p:to>
                                        <p:strVal val="visible"/>
                                      </p:to>
                                    </p:set>
                                    <p:animEffect transition="in" filter="fade">
                                      <p:cBhvr>
                                        <p:cTn id="76" dur="500"/>
                                        <p:tgtEl>
                                          <p:spTgt spid="26"/>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27"/>
                                        </p:tgtEl>
                                        <p:attrNameLst>
                                          <p:attrName>style.visibility</p:attrName>
                                        </p:attrNameLst>
                                      </p:cBhvr>
                                      <p:to>
                                        <p:strVal val="visible"/>
                                      </p:to>
                                    </p:set>
                                    <p:animEffect transition="in" filter="fade">
                                      <p:cBhvr>
                                        <p:cTn id="8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 grpId="0" animBg="1"/>
      <p:bldP spid="22" grpId="0"/>
      <p:bldP spid="37" grpId="0" animBg="1"/>
      <p:bldP spid="13" grpId="0"/>
      <p:bldP spid="23" grpId="0"/>
      <p:bldP spid="26"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9241003"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ay for performance </a:t>
            </a:r>
          </a:p>
        </p:txBody>
      </p:sp>
      <p:sp>
        <p:nvSpPr>
          <p:cNvPr id="117" name="Rectangle 116"/>
          <p:cNvSpPr/>
          <p:nvPr/>
        </p:nvSpPr>
        <p:spPr bwMode="auto">
          <a:xfrm>
            <a:off x="9241003"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Operational efficiency</a:t>
            </a:r>
          </a:p>
        </p:txBody>
      </p:sp>
      <p:sp>
        <p:nvSpPr>
          <p:cNvPr id="118" name="Rectangle 117"/>
          <p:cNvSpPr/>
          <p:nvPr/>
        </p:nvSpPr>
        <p:spPr bwMode="auto">
          <a:xfrm>
            <a:off x="9241003" y="437940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Smart buildings</a:t>
            </a:r>
          </a:p>
        </p:txBody>
      </p:sp>
      <p:sp>
        <p:nvSpPr>
          <p:cNvPr id="119" name="Rectangle 118"/>
          <p:cNvSpPr/>
          <p:nvPr/>
        </p:nvSpPr>
        <p:spPr bwMode="auto">
          <a:xfrm>
            <a:off x="9241003" y="512315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redictive maintenance</a:t>
            </a:r>
          </a:p>
        </p:txBody>
      </p:sp>
      <p:sp>
        <p:nvSpPr>
          <p:cNvPr id="120" name="Rectangle 119"/>
          <p:cNvSpPr/>
          <p:nvPr/>
        </p:nvSpPr>
        <p:spPr bwMode="auto">
          <a:xfrm>
            <a:off x="9241003" y="5866908"/>
            <a:ext cx="29472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Supply chain </a:t>
            </a:r>
            <a:br>
              <a:rPr lang="en-US" sz="1400" kern="0" dirty="0">
                <a:gradFill>
                  <a:gsLst>
                    <a:gs pos="1250">
                      <a:srgbClr val="505050"/>
                    </a:gs>
                    <a:gs pos="100000">
                      <a:srgbClr val="505050"/>
                    </a:gs>
                  </a:gsLst>
                  <a:lin ang="5400000" scaled="0"/>
                </a:gradFill>
                <a:cs typeface="Segoe UI" pitchFamily="34" charset="0"/>
              </a:rPr>
            </a:br>
            <a:r>
              <a:rPr lang="en-US" sz="1400" kern="0" dirty="0">
                <a:gradFill>
                  <a:gsLst>
                    <a:gs pos="1250">
                      <a:srgbClr val="505050"/>
                    </a:gs>
                    <a:gs pos="100000">
                      <a:srgbClr val="505050"/>
                    </a:gs>
                  </a:gsLst>
                  <a:lin ang="5400000" scaled="0"/>
                </a:gradFill>
                <a:cs typeface="Segoe UI" pitchFamily="34" charset="0"/>
              </a:rPr>
              <a:t>management</a:t>
            </a:r>
          </a:p>
        </p:txBody>
      </p:sp>
      <p:sp>
        <p:nvSpPr>
          <p:cNvPr id="122" name="Rectangle 121"/>
          <p:cNvSpPr/>
          <p:nvPr/>
        </p:nvSpPr>
        <p:spPr bwMode="auto">
          <a:xfrm>
            <a:off x="6254291" y="289190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Lifetime customer value </a:t>
            </a:r>
          </a:p>
        </p:txBody>
      </p:sp>
      <p:sp>
        <p:nvSpPr>
          <p:cNvPr id="123" name="Rectangle 122"/>
          <p:cNvSpPr/>
          <p:nvPr/>
        </p:nvSpPr>
        <p:spPr bwMode="auto">
          <a:xfrm>
            <a:off x="6254291" y="363565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ersonalized offers</a:t>
            </a:r>
          </a:p>
        </p:txBody>
      </p:sp>
      <p:sp>
        <p:nvSpPr>
          <p:cNvPr id="124" name="Rectangle 123"/>
          <p:cNvSpPr/>
          <p:nvPr/>
        </p:nvSpPr>
        <p:spPr bwMode="auto">
          <a:xfrm>
            <a:off x="6254291" y="437940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Product recommendation</a:t>
            </a:r>
          </a:p>
        </p:txBody>
      </p:sp>
      <p:sp>
        <p:nvSpPr>
          <p:cNvPr id="128" name="Rectangle 127"/>
          <p:cNvSpPr/>
          <p:nvPr/>
        </p:nvSpPr>
        <p:spPr bwMode="auto">
          <a:xfrm>
            <a:off x="3267579"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Fraud detection</a:t>
            </a:r>
          </a:p>
        </p:txBody>
      </p:sp>
      <p:sp>
        <p:nvSpPr>
          <p:cNvPr id="129" name="Rectangle 128"/>
          <p:cNvSpPr/>
          <p:nvPr/>
        </p:nvSpPr>
        <p:spPr bwMode="auto">
          <a:xfrm>
            <a:off x="3267579"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redit risk management</a:t>
            </a:r>
          </a:p>
        </p:txBody>
      </p:sp>
      <p:sp>
        <p:nvSpPr>
          <p:cNvPr id="151" name="Rectangle 150"/>
          <p:cNvSpPr/>
          <p:nvPr/>
        </p:nvSpPr>
        <p:spPr bwMode="auto">
          <a:xfrm>
            <a:off x="280867" y="2891904"/>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ustomer acquisition </a:t>
            </a:r>
          </a:p>
        </p:txBody>
      </p:sp>
      <p:sp>
        <p:nvSpPr>
          <p:cNvPr id="154" name="Rectangle 153"/>
          <p:cNvSpPr/>
          <p:nvPr/>
        </p:nvSpPr>
        <p:spPr bwMode="auto">
          <a:xfrm>
            <a:off x="280867" y="3635655"/>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Cross-sell and upsell </a:t>
            </a:r>
          </a:p>
        </p:txBody>
      </p:sp>
      <p:sp>
        <p:nvSpPr>
          <p:cNvPr id="155" name="Rectangle 154"/>
          <p:cNvSpPr/>
          <p:nvPr/>
        </p:nvSpPr>
        <p:spPr bwMode="auto">
          <a:xfrm>
            <a:off x="280867" y="4379407"/>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Loyalty programs </a:t>
            </a:r>
          </a:p>
        </p:txBody>
      </p:sp>
      <p:sp>
        <p:nvSpPr>
          <p:cNvPr id="156" name="Rectangle 155"/>
          <p:cNvSpPr/>
          <p:nvPr/>
        </p:nvSpPr>
        <p:spPr bwMode="auto">
          <a:xfrm>
            <a:off x="280867" y="5123158"/>
            <a:ext cx="2926080" cy="673653"/>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0" bIns="46637" numCol="1" rtlCol="0" anchor="ctr" anchorCtr="0" compatLnSpc="1">
            <a:prstTxWarp prst="textNoShape">
              <a:avLst/>
            </a:prstTxWarp>
          </a:bodyPr>
          <a:lstStyle/>
          <a:p>
            <a:pPr defTabSz="932472" fontAlgn="base">
              <a:lnSpc>
                <a:spcPct val="90000"/>
              </a:lnSpc>
              <a:spcBef>
                <a:spcPct val="0"/>
              </a:spcBef>
              <a:spcAft>
                <a:spcPct val="0"/>
              </a:spcAft>
            </a:pPr>
            <a:r>
              <a:rPr lang="en-US" sz="1400" kern="0" dirty="0">
                <a:gradFill>
                  <a:gsLst>
                    <a:gs pos="1250">
                      <a:srgbClr val="505050"/>
                    </a:gs>
                    <a:gs pos="100000">
                      <a:srgbClr val="505050"/>
                    </a:gs>
                  </a:gsLst>
                  <a:lin ang="5400000" scaled="0"/>
                </a:gradFill>
                <a:cs typeface="Segoe UI" pitchFamily="34" charset="0"/>
              </a:rPr>
              <a:t>Marketing mix optimization</a:t>
            </a:r>
          </a:p>
        </p:txBody>
      </p:sp>
      <p:sp>
        <p:nvSpPr>
          <p:cNvPr id="2" name="Title 1"/>
          <p:cNvSpPr>
            <a:spLocks noGrp="1"/>
          </p:cNvSpPr>
          <p:nvPr>
            <p:ph type="title"/>
          </p:nvPr>
        </p:nvSpPr>
        <p:spPr/>
        <p:txBody>
          <a:bodyPr/>
          <a:lstStyle/>
          <a:p>
            <a:r>
              <a:rPr lang="en-US"/>
              <a:t>Cortana Analytics scenarios</a:t>
            </a:r>
            <a:endParaRPr lang="en-US" dirty="0"/>
          </a:p>
        </p:txBody>
      </p:sp>
      <p:grpSp>
        <p:nvGrpSpPr>
          <p:cNvPr id="55" name="Group 54"/>
          <p:cNvGrpSpPr/>
          <p:nvPr/>
        </p:nvGrpSpPr>
        <p:grpSpPr>
          <a:xfrm>
            <a:off x="3443130" y="3092719"/>
            <a:ext cx="400910" cy="272022"/>
            <a:chOff x="1819275" y="3757613"/>
            <a:chExt cx="982663" cy="666750"/>
          </a:xfrm>
          <a:solidFill>
            <a:schemeClr val="accent1"/>
          </a:solidFill>
        </p:grpSpPr>
        <p:sp>
          <p:nvSpPr>
            <p:cNvPr id="56"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57" name="Oval 25"/>
            <p:cNvSpPr>
              <a:spLocks noChangeArrowheads="1"/>
            </p:cNvSpPr>
            <p:nvPr/>
          </p:nvSpPr>
          <p:spPr bwMode="auto">
            <a:xfrm>
              <a:off x="2257425" y="3986213"/>
              <a:ext cx="104775" cy="1047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grpSp>
        <p:nvGrpSpPr>
          <p:cNvPr id="58" name="Group 15"/>
          <p:cNvGrpSpPr>
            <a:grpSpLocks noChangeAspect="1"/>
          </p:cNvGrpSpPr>
          <p:nvPr/>
        </p:nvGrpSpPr>
        <p:grpSpPr bwMode="auto">
          <a:xfrm>
            <a:off x="6423065" y="4537364"/>
            <a:ext cx="429884" cy="402897"/>
            <a:chOff x="1441" y="-65"/>
            <a:chExt cx="4795" cy="4494"/>
          </a:xfrm>
          <a:solidFill>
            <a:schemeClr val="accent1"/>
          </a:solidFill>
        </p:grpSpPr>
        <p:sp>
          <p:nvSpPr>
            <p:cNvPr id="59"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0"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1"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2"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3"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4"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65" name="Freeform 35"/>
          <p:cNvSpPr>
            <a:spLocks noEditPoints="1"/>
          </p:cNvSpPr>
          <p:nvPr/>
        </p:nvSpPr>
        <p:spPr bwMode="black">
          <a:xfrm>
            <a:off x="6423065" y="3026882"/>
            <a:ext cx="398677" cy="403699"/>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nvGrpSpPr>
          <p:cNvPr id="66" name="Group 65"/>
          <p:cNvGrpSpPr/>
          <p:nvPr/>
        </p:nvGrpSpPr>
        <p:grpSpPr bwMode="black">
          <a:xfrm>
            <a:off x="9410537" y="3783318"/>
            <a:ext cx="465034" cy="378326"/>
            <a:chOff x="5184775" y="225425"/>
            <a:chExt cx="1500188" cy="1220788"/>
          </a:xfrm>
          <a:solidFill>
            <a:schemeClr val="accent1"/>
          </a:solidFill>
        </p:grpSpPr>
        <p:sp>
          <p:nvSpPr>
            <p:cNvPr id="6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8" name="Oval 87"/>
            <p:cNvSpPr>
              <a:spLocks noChangeArrowheads="1"/>
            </p:cNvSpPr>
            <p:nvPr/>
          </p:nvSpPr>
          <p:spPr bwMode="black">
            <a:xfrm>
              <a:off x="5630863" y="812800"/>
              <a:ext cx="203200" cy="20320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6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grpSp>
        <p:nvGrpSpPr>
          <p:cNvPr id="70" name="Group 69"/>
          <p:cNvGrpSpPr/>
          <p:nvPr/>
        </p:nvGrpSpPr>
        <p:grpSpPr>
          <a:xfrm>
            <a:off x="6421908" y="3761736"/>
            <a:ext cx="421495" cy="421495"/>
            <a:chOff x="7156450" y="28575"/>
            <a:chExt cx="325438" cy="325438"/>
          </a:xfrm>
          <a:solidFill>
            <a:schemeClr val="accent1"/>
          </a:solidFill>
        </p:grpSpPr>
        <p:sp>
          <p:nvSpPr>
            <p:cNvPr id="7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7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77" name="Freeform 58"/>
          <p:cNvSpPr>
            <a:spLocks noEditPoints="1"/>
          </p:cNvSpPr>
          <p:nvPr/>
        </p:nvSpPr>
        <p:spPr bwMode="black">
          <a:xfrm>
            <a:off x="9410537" y="3024545"/>
            <a:ext cx="381007" cy="40837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nvGrpSpPr>
          <p:cNvPr id="79" name="Group 537"/>
          <p:cNvGrpSpPr>
            <a:grpSpLocks noChangeAspect="1"/>
          </p:cNvGrpSpPr>
          <p:nvPr/>
        </p:nvGrpSpPr>
        <p:grpSpPr bwMode="auto">
          <a:xfrm>
            <a:off x="432199" y="4500426"/>
            <a:ext cx="431615" cy="431615"/>
            <a:chOff x="5688" y="5268"/>
            <a:chExt cx="949" cy="949"/>
          </a:xfrm>
          <a:solidFill>
            <a:schemeClr val="accent1"/>
          </a:solidFill>
        </p:grpSpPr>
        <p:sp>
          <p:nvSpPr>
            <p:cNvPr id="80"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1"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83" name="Freeform 12"/>
          <p:cNvSpPr>
            <a:spLocks noChangeAspect="1" noEditPoints="1"/>
          </p:cNvSpPr>
          <p:nvPr/>
        </p:nvSpPr>
        <p:spPr bwMode="black">
          <a:xfrm>
            <a:off x="432199" y="3092719"/>
            <a:ext cx="450639" cy="272022"/>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4" name="Freeform 22"/>
          <p:cNvSpPr>
            <a:spLocks noChangeAspect="1" noEditPoints="1"/>
          </p:cNvSpPr>
          <p:nvPr/>
        </p:nvSpPr>
        <p:spPr bwMode="black">
          <a:xfrm>
            <a:off x="432200" y="5270567"/>
            <a:ext cx="378934" cy="37883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5" name="Freeform 90"/>
          <p:cNvSpPr>
            <a:spLocks noChangeAspect="1" noEditPoints="1"/>
          </p:cNvSpPr>
          <p:nvPr/>
        </p:nvSpPr>
        <p:spPr bwMode="black">
          <a:xfrm>
            <a:off x="432199" y="3784131"/>
            <a:ext cx="343351" cy="376700"/>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6" name="Freeform 25"/>
          <p:cNvSpPr>
            <a:spLocks noChangeAspect="1" noEditPoints="1"/>
          </p:cNvSpPr>
          <p:nvPr/>
        </p:nvSpPr>
        <p:spPr bwMode="black">
          <a:xfrm>
            <a:off x="9410536" y="6014634"/>
            <a:ext cx="444173" cy="37820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87" name="Freeform 9"/>
          <p:cNvSpPr>
            <a:spLocks noEditPoints="1"/>
          </p:cNvSpPr>
          <p:nvPr/>
        </p:nvSpPr>
        <p:spPr bwMode="auto">
          <a:xfrm>
            <a:off x="3443130" y="3836993"/>
            <a:ext cx="420547" cy="270976"/>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1" name="Rectangle 10"/>
          <p:cNvSpPr/>
          <p:nvPr/>
        </p:nvSpPr>
        <p:spPr bwMode="auto">
          <a:xfrm>
            <a:off x="274637" y="1433585"/>
            <a:ext cx="11889565" cy="5922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146304" rIns="9144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solidFill>
                  <a:srgbClr val="FFFFFF"/>
                </a:solidFill>
              </a:rPr>
              <a:t>EXAMPLE SOLUTIONS</a:t>
            </a:r>
          </a:p>
        </p:txBody>
      </p:sp>
      <p:grpSp>
        <p:nvGrpSpPr>
          <p:cNvPr id="95" name="Group 94"/>
          <p:cNvGrpSpPr/>
          <p:nvPr/>
        </p:nvGrpSpPr>
        <p:grpSpPr bwMode="black">
          <a:xfrm>
            <a:off x="457341" y="1499529"/>
            <a:ext cx="431061" cy="481189"/>
            <a:chOff x="1435100" y="3879850"/>
            <a:chExt cx="739775" cy="795338"/>
          </a:xfrm>
          <a:solidFill>
            <a:schemeClr val="tx1"/>
          </a:solidFill>
        </p:grpSpPr>
        <p:sp>
          <p:nvSpPr>
            <p:cNvPr id="99"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0"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1"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2"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3"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4"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5"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6"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107"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grpSp>
      <p:grpSp>
        <p:nvGrpSpPr>
          <p:cNvPr id="112" name="Group 111"/>
          <p:cNvGrpSpPr/>
          <p:nvPr/>
        </p:nvGrpSpPr>
        <p:grpSpPr>
          <a:xfrm>
            <a:off x="9410538" y="4527012"/>
            <a:ext cx="326640" cy="378443"/>
            <a:chOff x="5394326" y="4936834"/>
            <a:chExt cx="720725" cy="835025"/>
          </a:xfrm>
          <a:solidFill>
            <a:schemeClr val="accent1"/>
          </a:solidFill>
        </p:grpSpPr>
        <p:sp>
          <p:nvSpPr>
            <p:cNvPr id="113"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14"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grpSp>
      <p:sp>
        <p:nvSpPr>
          <p:cNvPr id="115" name="Freeform 5"/>
          <p:cNvSpPr>
            <a:spLocks noEditPoints="1"/>
          </p:cNvSpPr>
          <p:nvPr/>
        </p:nvSpPr>
        <p:spPr bwMode="auto">
          <a:xfrm rot="1148920" flipH="1">
            <a:off x="9464935" y="5265165"/>
            <a:ext cx="343644" cy="389639"/>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5" name="Rectangle 4"/>
          <p:cNvSpPr/>
          <p:nvPr/>
        </p:nvSpPr>
        <p:spPr bwMode="auto">
          <a:xfrm>
            <a:off x="274639"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Sales </a:t>
            </a:r>
            <a:br>
              <a:rPr lang="en-US" sz="1600" kern="0" dirty="0">
                <a:gradFill>
                  <a:gsLst>
                    <a:gs pos="1250">
                      <a:srgbClr val="FFFFFF"/>
                    </a:gs>
                    <a:gs pos="100000">
                      <a:srgbClr val="FFFFFF"/>
                    </a:gs>
                  </a:gsLst>
                  <a:lin ang="5400000" scaled="0"/>
                </a:gradFill>
                <a:cs typeface="Segoe UI" pitchFamily="34" charset="0"/>
              </a:rPr>
            </a:br>
            <a:r>
              <a:rPr lang="en-US" sz="1600" kern="0" dirty="0">
                <a:gradFill>
                  <a:gsLst>
                    <a:gs pos="1250">
                      <a:srgbClr val="FFFFFF"/>
                    </a:gs>
                    <a:gs pos="100000">
                      <a:srgbClr val="FFFFFF"/>
                    </a:gs>
                  </a:gsLst>
                  <a:lin ang="5400000" scaled="0"/>
                </a:gradFill>
                <a:cs typeface="Segoe UI" pitchFamily="34" charset="0"/>
              </a:rPr>
              <a:t>and marketing</a:t>
            </a:r>
          </a:p>
        </p:txBody>
      </p:sp>
      <p:sp>
        <p:nvSpPr>
          <p:cNvPr id="110" name="Rectangle 109"/>
          <p:cNvSpPr/>
          <p:nvPr/>
        </p:nvSpPr>
        <p:spPr bwMode="auto">
          <a:xfrm>
            <a:off x="3262467"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Finance </a:t>
            </a:r>
            <a:br>
              <a:rPr lang="en-US" sz="1600" kern="0" dirty="0">
                <a:gradFill>
                  <a:gsLst>
                    <a:gs pos="1250">
                      <a:srgbClr val="FFFFFF"/>
                    </a:gs>
                    <a:gs pos="100000">
                      <a:srgbClr val="FFFFFF"/>
                    </a:gs>
                  </a:gsLst>
                  <a:lin ang="5400000" scaled="0"/>
                </a:gradFill>
                <a:cs typeface="Segoe UI" pitchFamily="34" charset="0"/>
              </a:rPr>
            </a:br>
            <a:r>
              <a:rPr lang="en-US" sz="1600" kern="0" dirty="0">
                <a:gradFill>
                  <a:gsLst>
                    <a:gs pos="1250">
                      <a:srgbClr val="FFFFFF"/>
                    </a:gs>
                    <a:gs pos="100000">
                      <a:srgbClr val="FFFFFF"/>
                    </a:gs>
                  </a:gsLst>
                  <a:lin ang="5400000" scaled="0"/>
                </a:gradFill>
                <a:cs typeface="Segoe UI" pitchFamily="34" charset="0"/>
              </a:rPr>
              <a:t>and risk</a:t>
            </a:r>
          </a:p>
        </p:txBody>
      </p:sp>
      <p:sp>
        <p:nvSpPr>
          <p:cNvPr id="111" name="Rectangle 110"/>
          <p:cNvSpPr/>
          <p:nvPr/>
        </p:nvSpPr>
        <p:spPr bwMode="auto">
          <a:xfrm>
            <a:off x="6250295"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Customer </a:t>
            </a:r>
            <a:br>
              <a:rPr lang="en-US" sz="1600" kern="0" dirty="0">
                <a:gradFill>
                  <a:gsLst>
                    <a:gs pos="1250">
                      <a:srgbClr val="FFFFFF"/>
                    </a:gs>
                    <a:gs pos="100000">
                      <a:srgbClr val="FFFFFF"/>
                    </a:gs>
                  </a:gsLst>
                  <a:lin ang="5400000" scaled="0"/>
                </a:gradFill>
                <a:cs typeface="Segoe UI" pitchFamily="34" charset="0"/>
              </a:rPr>
            </a:br>
            <a:r>
              <a:rPr lang="en-US" sz="1600" kern="0" dirty="0">
                <a:gradFill>
                  <a:gsLst>
                    <a:gs pos="1250">
                      <a:srgbClr val="FFFFFF"/>
                    </a:gs>
                    <a:gs pos="100000">
                      <a:srgbClr val="FFFFFF"/>
                    </a:gs>
                  </a:gsLst>
                  <a:lin ang="5400000" scaled="0"/>
                </a:gradFill>
                <a:cs typeface="Segoe UI" pitchFamily="34" charset="0"/>
              </a:rPr>
              <a:t>and channel</a:t>
            </a:r>
          </a:p>
        </p:txBody>
      </p:sp>
      <p:sp>
        <p:nvSpPr>
          <p:cNvPr id="116" name="Rectangle 115"/>
          <p:cNvSpPr/>
          <p:nvPr/>
        </p:nvSpPr>
        <p:spPr bwMode="auto">
          <a:xfrm>
            <a:off x="9238122" y="2081276"/>
            <a:ext cx="2926080" cy="75522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22960" tIns="46637" rIns="182880" bIns="46637" numCol="1" rtlCol="0" anchor="ctr" anchorCtr="0" compatLnSpc="1">
            <a:prstTxWarp prst="textNoShape">
              <a:avLst/>
            </a:prstTxWarp>
          </a:bodyPr>
          <a:lstStyle/>
          <a:p>
            <a:pPr defTabSz="932472" fontAlgn="base">
              <a:lnSpc>
                <a:spcPct val="90000"/>
              </a:lnSpc>
              <a:spcBef>
                <a:spcPct val="0"/>
              </a:spcBef>
              <a:spcAft>
                <a:spcPct val="0"/>
              </a:spcAft>
            </a:pPr>
            <a:r>
              <a:rPr lang="en-US" sz="1600" kern="0" dirty="0">
                <a:gradFill>
                  <a:gsLst>
                    <a:gs pos="1250">
                      <a:srgbClr val="FFFFFF"/>
                    </a:gs>
                    <a:gs pos="100000">
                      <a:srgbClr val="FFFFFF"/>
                    </a:gs>
                  </a:gsLst>
                  <a:lin ang="5400000" scaled="0"/>
                </a:gradFill>
                <a:cs typeface="Segoe UI" pitchFamily="34" charset="0"/>
              </a:rPr>
              <a:t>Operations </a:t>
            </a:r>
            <a:br>
              <a:rPr lang="en-US" sz="1600" kern="0" dirty="0">
                <a:gradFill>
                  <a:gsLst>
                    <a:gs pos="1250">
                      <a:srgbClr val="FFFFFF"/>
                    </a:gs>
                    <a:gs pos="100000">
                      <a:srgbClr val="FFFFFF"/>
                    </a:gs>
                  </a:gsLst>
                  <a:lin ang="5400000" scaled="0"/>
                </a:gradFill>
                <a:cs typeface="Segoe UI" pitchFamily="34" charset="0"/>
              </a:rPr>
            </a:br>
            <a:r>
              <a:rPr lang="en-US" sz="1600" kern="0" dirty="0">
                <a:gradFill>
                  <a:gsLst>
                    <a:gs pos="1250">
                      <a:srgbClr val="FFFFFF"/>
                    </a:gs>
                    <a:gs pos="100000">
                      <a:srgbClr val="FFFFFF"/>
                    </a:gs>
                  </a:gsLst>
                  <a:lin ang="5400000" scaled="0"/>
                </a:gradFill>
                <a:cs typeface="Segoe UI" pitchFamily="34" charset="0"/>
              </a:rPr>
              <a:t>and workforce</a:t>
            </a:r>
          </a:p>
        </p:txBody>
      </p:sp>
      <p:sp>
        <p:nvSpPr>
          <p:cNvPr id="109" name="Freeform 64"/>
          <p:cNvSpPr>
            <a:spLocks noEditPoints="1"/>
          </p:cNvSpPr>
          <p:nvPr/>
        </p:nvSpPr>
        <p:spPr bwMode="black">
          <a:xfrm>
            <a:off x="432199" y="2248197"/>
            <a:ext cx="481446" cy="369750"/>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tx1"/>
          </a:solidFill>
          <a:ln>
            <a:noFill/>
          </a:ln>
        </p:spPr>
        <p:txBody>
          <a:bodyPr vert="horz" wrap="square" lIns="0" tIns="41153" rIns="82305" bIns="41153" numCol="1" anchor="t" anchorCtr="0" compatLnSpc="1">
            <a:prstTxWarp prst="textNoShape">
              <a:avLst/>
            </a:prstTxWarp>
          </a:bodyPr>
          <a:lstStyle/>
          <a:p>
            <a:pPr algn="ctr" defTabSz="914363"/>
            <a:endParaRPr lang="en-US" sz="1600" dirty="0">
              <a:gradFill>
                <a:gsLst>
                  <a:gs pos="1250">
                    <a:srgbClr val="FFFFFF"/>
                  </a:gs>
                  <a:gs pos="100000">
                    <a:srgbClr val="FFFFFF"/>
                  </a:gs>
                </a:gsLst>
                <a:lin ang="5400000" scaled="0"/>
              </a:gradFill>
            </a:endParaRPr>
          </a:p>
        </p:txBody>
      </p:sp>
      <p:sp>
        <p:nvSpPr>
          <p:cNvPr id="43" name="Freeform 242"/>
          <p:cNvSpPr>
            <a:spLocks noChangeAspect="1" noEditPoints="1"/>
          </p:cNvSpPr>
          <p:nvPr/>
        </p:nvSpPr>
        <p:spPr bwMode="auto">
          <a:xfrm>
            <a:off x="9410537" y="2270237"/>
            <a:ext cx="459721" cy="367777"/>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baseline="-25000" dirty="0">
              <a:gradFill>
                <a:gsLst>
                  <a:gs pos="1250">
                    <a:srgbClr val="FFFFFF"/>
                  </a:gs>
                  <a:gs pos="100000">
                    <a:srgbClr val="FFFFFF"/>
                  </a:gs>
                </a:gsLst>
                <a:lin ang="5400000" scaled="0"/>
              </a:gradFill>
            </a:endParaRPr>
          </a:p>
        </p:txBody>
      </p:sp>
      <p:sp>
        <p:nvSpPr>
          <p:cNvPr id="82" name="Freeform 12"/>
          <p:cNvSpPr>
            <a:spLocks noChangeAspect="1"/>
          </p:cNvSpPr>
          <p:nvPr/>
        </p:nvSpPr>
        <p:spPr bwMode="black">
          <a:xfrm>
            <a:off x="6423065" y="2249238"/>
            <a:ext cx="508622" cy="401076"/>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gradFill>
                <a:gsLst>
                  <a:gs pos="1250">
                    <a:srgbClr val="FFFFFF"/>
                  </a:gs>
                  <a:gs pos="100000">
                    <a:srgbClr val="FFFFFF"/>
                  </a:gs>
                </a:gsLst>
                <a:lin ang="5400000" scaled="0"/>
              </a:gradFill>
            </a:endParaRPr>
          </a:p>
        </p:txBody>
      </p:sp>
      <p:sp>
        <p:nvSpPr>
          <p:cNvPr id="108" name="Freeform 11"/>
          <p:cNvSpPr>
            <a:spLocks noEditPoints="1"/>
          </p:cNvSpPr>
          <p:nvPr/>
        </p:nvSpPr>
        <p:spPr bwMode="auto">
          <a:xfrm>
            <a:off x="3443130" y="2351160"/>
            <a:ext cx="522913" cy="239046"/>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4"/>
            <a:endParaRPr lang="en-US" sz="17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9917715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42037" y="2278100"/>
            <a:ext cx="6009932" cy="917575"/>
          </a:xfrm>
        </p:spPr>
        <p:txBody>
          <a:bodyPr/>
          <a:lstStyle/>
          <a:p>
            <a:r>
              <a:rPr lang="en-US" dirty="0"/>
              <a:t>Azure </a:t>
            </a:r>
            <a:br>
              <a:rPr lang="en-US" dirty="0"/>
            </a:br>
            <a:r>
              <a:rPr lang="en-US" dirty="0"/>
              <a:t>SQL Database</a:t>
            </a:r>
            <a:br>
              <a:rPr lang="en-US" dirty="0"/>
            </a:br>
            <a:r>
              <a:rPr lang="en-US" dirty="0"/>
              <a:t>SQL Data Warehouse</a:t>
            </a:r>
            <a:endParaRPr lang="en-GB" dirty="0"/>
          </a:p>
        </p:txBody>
      </p:sp>
      <p:grpSp>
        <p:nvGrpSpPr>
          <p:cNvPr id="3" name="Group 2"/>
          <p:cNvGrpSpPr/>
          <p:nvPr/>
        </p:nvGrpSpPr>
        <p:grpSpPr>
          <a:xfrm>
            <a:off x="1608369" y="1169325"/>
            <a:ext cx="3619268" cy="5147337"/>
            <a:chOff x="4015367" y="1790395"/>
            <a:chExt cx="2374749" cy="4320099"/>
          </a:xfrm>
        </p:grpSpPr>
        <p:sp>
          <p:nvSpPr>
            <p:cNvPr id="5" name="Rectangle 4"/>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ig Data Stores</a:t>
              </a:r>
            </a:p>
          </p:txBody>
        </p:sp>
        <p:pic>
          <p:nvPicPr>
            <p:cNvPr id="6" name="Picture 13"/>
            <p:cNvPicPr>
              <a:picLocks noChangeAspect="1"/>
            </p:cNvPicPr>
            <p:nvPr/>
          </p:nvPicPr>
          <p:blipFill>
            <a:blip r:embed="rId2">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ounded Rectangle 6"/>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Oval 9"/>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Oval 10"/>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Rectangle 12"/>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Oval 13"/>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Oval 14"/>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Rectangle 15"/>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Oval 17"/>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Oval 18"/>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Rectangle 19"/>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Oval 21"/>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Oval 22"/>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Rectangle 23"/>
            <p:cNvSpPr/>
            <p:nvPr/>
          </p:nvSpPr>
          <p:spPr>
            <a:xfrm>
              <a:off x="4508069" y="3352325"/>
              <a:ext cx="1093237" cy="542458"/>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 store</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5" name="Rectangle 24"/>
            <p:cNvSpPr/>
            <p:nvPr/>
          </p:nvSpPr>
          <p:spPr>
            <a:xfrm>
              <a:off x="4489683" y="4381476"/>
              <a:ext cx="1463510" cy="542458"/>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800"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QL Data Warehouse</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6" name="Group 25"/>
            <p:cNvGrpSpPr/>
            <p:nvPr/>
          </p:nvGrpSpPr>
          <p:grpSpPr>
            <a:xfrm>
              <a:off x="6094873" y="5254390"/>
              <a:ext cx="295243" cy="853675"/>
              <a:chOff x="3832324" y="5254390"/>
              <a:chExt cx="295243" cy="853675"/>
            </a:xfrm>
          </p:grpSpPr>
          <p:sp>
            <p:nvSpPr>
              <p:cNvPr id="27" name="Isosceles Triangle 26"/>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Isosceles Triangle 27"/>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1642185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636" y="0"/>
            <a:ext cx="11887878" cy="917575"/>
          </a:xfrm>
        </p:spPr>
        <p:txBody>
          <a:bodyPr/>
          <a:lstStyle/>
          <a:p>
            <a:r>
              <a:rPr lang="en-US" sz="4488" dirty="0">
                <a:solidFill>
                  <a:schemeClr val="accent2"/>
                </a:solidFill>
              </a:rPr>
              <a:t>SQL Database Service</a:t>
            </a:r>
          </a:p>
        </p:txBody>
      </p:sp>
      <p:sp>
        <p:nvSpPr>
          <p:cNvPr id="6" name="Rectangle 5"/>
          <p:cNvSpPr/>
          <p:nvPr/>
        </p:nvSpPr>
        <p:spPr bwMode="auto">
          <a:xfrm>
            <a:off x="1178381" y="2511806"/>
            <a:ext cx="3253267" cy="1094581"/>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lastic scale &amp; performance</a:t>
            </a:r>
          </a:p>
        </p:txBody>
      </p:sp>
      <p:sp>
        <p:nvSpPr>
          <p:cNvPr id="7" name="Rectangle 6"/>
          <p:cNvSpPr/>
          <p:nvPr/>
        </p:nvSpPr>
        <p:spPr bwMode="auto">
          <a:xfrm>
            <a:off x="4534044" y="2511806"/>
            <a:ext cx="3253267" cy="1094581"/>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a:t>
            </a:r>
          </a:p>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ntinuity &amp;                    data protection</a:t>
            </a:r>
          </a:p>
        </p:txBody>
      </p:sp>
      <p:sp>
        <p:nvSpPr>
          <p:cNvPr id="8" name="Rectangle 7"/>
          <p:cNvSpPr/>
          <p:nvPr/>
        </p:nvSpPr>
        <p:spPr bwMode="auto">
          <a:xfrm>
            <a:off x="7889707" y="2511805"/>
            <a:ext cx="3253267" cy="1094581"/>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amiliar &amp;                       self-managed</a:t>
            </a:r>
          </a:p>
        </p:txBody>
      </p:sp>
      <p:sp>
        <p:nvSpPr>
          <p:cNvPr id="9" name="TextBox 8"/>
          <p:cNvSpPr txBox="1"/>
          <p:nvPr/>
        </p:nvSpPr>
        <p:spPr>
          <a:xfrm>
            <a:off x="1191281" y="3618625"/>
            <a:ext cx="3483990" cy="1393144"/>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Predictable performance levels</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Programmatic scale-out</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ashboard views of DB metrics</a:t>
            </a:r>
          </a:p>
        </p:txBody>
      </p:sp>
      <p:sp>
        <p:nvSpPr>
          <p:cNvPr id="10" name="TextBox 9"/>
          <p:cNvSpPr txBox="1"/>
          <p:nvPr/>
        </p:nvSpPr>
        <p:spPr>
          <a:xfrm>
            <a:off x="4506431" y="3630266"/>
            <a:ext cx="3383275" cy="1393144"/>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elf-service restore</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isaster recovery</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mpliance-enabled</a:t>
            </a:r>
          </a:p>
        </p:txBody>
      </p:sp>
      <p:sp>
        <p:nvSpPr>
          <p:cNvPr id="11" name="TextBox 10"/>
          <p:cNvSpPr txBox="1"/>
          <p:nvPr/>
        </p:nvSpPr>
        <p:spPr>
          <a:xfrm>
            <a:off x="7889707" y="3626821"/>
            <a:ext cx="3757344" cy="1393144"/>
          </a:xfrm>
          <a:prstGeom prst="rect">
            <a:avLst/>
          </a:prstGeom>
          <a:noFill/>
          <a:ln>
            <a:noFill/>
          </a:ln>
        </p:spPr>
        <p:txBody>
          <a:bodyPr wrap="square" lIns="186521" tIns="149217" rIns="186521" bIns="149217" rtlCol="0">
            <a:spAutoFit/>
          </a:bodyPr>
          <a:lstStyle/>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Familiar &amp; compatible</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Programmatic</a:t>
            </a:r>
          </a:p>
          <a:p>
            <a:pPr marL="0" marR="0" lvl="0" indent="0" defTabSz="914400" eaLnBrk="1" fontAlgn="auto" latinLnBrk="0" hangingPunct="1">
              <a:lnSpc>
                <a:spcPct val="90000"/>
              </a:lnSpc>
              <a:spcBef>
                <a:spcPts val="0"/>
              </a:spcBef>
              <a:spcAft>
                <a:spcPts val="1224"/>
              </a:spcAft>
              <a:buClrTx/>
              <a:buSzTx/>
              <a:buFontTx/>
              <a:buNone/>
              <a:tabLst/>
              <a:defRPr/>
            </a:pPr>
            <a:r>
              <a:rPr kumimoji="0" lang="en-US" sz="1836"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elf-managed</a:t>
            </a:r>
          </a:p>
        </p:txBody>
      </p:sp>
      <p:sp>
        <p:nvSpPr>
          <p:cNvPr id="12" name="Rectangle 11"/>
          <p:cNvSpPr/>
          <p:nvPr/>
        </p:nvSpPr>
        <p:spPr>
          <a:xfrm>
            <a:off x="379447" y="1012878"/>
            <a:ext cx="11645571" cy="1031051"/>
          </a:xfrm>
          <a:prstGeom prst="rect">
            <a:avLst/>
          </a:prstGeom>
        </p:spPr>
        <p:txBody>
          <a:bodyPr wrap="square">
            <a:spAutoFit/>
          </a:bodyPr>
          <a:lstStyle/>
          <a:p>
            <a:pPr marL="342900" marR="0" lvl="0" indent="-342900" defTabSz="91440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A relational </a:t>
            </a:r>
            <a:r>
              <a:rPr kumimoji="0" lang="en-US" sz="2800" b="1"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database-as-a-service</a:t>
            </a: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 fully managed by Microsoft. </a:t>
            </a:r>
          </a:p>
          <a:p>
            <a:pPr marL="342900" marR="0" lvl="0" indent="-342900" defTabSz="914400" eaLnBrk="1" fontAlgn="auto" latinLnBrk="0" hangingPunct="1">
              <a:lnSpc>
                <a:spcPct val="100000"/>
              </a:lnSpc>
              <a:spcBef>
                <a:spcPts val="0"/>
              </a:spcBef>
              <a:spcAft>
                <a:spcPts val="612"/>
              </a:spcAft>
              <a:buClrTx/>
              <a:buSzTx/>
              <a:buFont typeface="Arial" panose="020B0604020202020204" pitchFamily="34" charset="0"/>
              <a:buChar char="•"/>
              <a:tabLst/>
              <a:defRPr/>
            </a:pPr>
            <a:r>
              <a:rPr kumimoji="0" lang="en-US" sz="2800" b="1"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Near-zero administration </a:t>
            </a: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and </a:t>
            </a:r>
            <a:r>
              <a:rPr kumimoji="0" lang="en-US" sz="2800" b="1"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enterprise-grade </a:t>
            </a:r>
            <a:r>
              <a:rPr kumimoji="0" lang="en-US" sz="2800" b="0" i="0" u="none" strike="noStrike" kern="0" cap="none" spc="0" normalizeH="0" baseline="0" noProof="0" dirty="0">
                <a:ln>
                  <a:noFill/>
                </a:ln>
                <a:solidFill>
                  <a:sysClr val="windowText" lastClr="000000"/>
                </a:solidFill>
                <a:effectLst/>
                <a:uLnTx/>
                <a:uFillTx/>
                <a:latin typeface="+mj-lt"/>
                <a:ea typeface="Calibri" panose="020F0502020204030204" pitchFamily="34" charset="0"/>
                <a:cs typeface="Calibri" panose="020F0502020204030204" pitchFamily="34" charset="0"/>
              </a:rPr>
              <a:t>capabilities</a:t>
            </a:r>
          </a:p>
        </p:txBody>
      </p:sp>
      <p:grpSp>
        <p:nvGrpSpPr>
          <p:cNvPr id="3" name="Group 2"/>
          <p:cNvGrpSpPr/>
          <p:nvPr/>
        </p:nvGrpSpPr>
        <p:grpSpPr>
          <a:xfrm>
            <a:off x="5490686" y="5210739"/>
            <a:ext cx="6944907" cy="1451117"/>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defTabSz="93213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grpSp>
        <p:nvGrpSpPr>
          <p:cNvPr id="77" name="Group 2"/>
          <p:cNvGrpSpPr/>
          <p:nvPr/>
        </p:nvGrpSpPr>
        <p:grpSpPr>
          <a:xfrm>
            <a:off x="-1203" y="6642734"/>
            <a:ext cx="12436795" cy="361047"/>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marL="0" marR="0" lvl="0" indent="0" defTabSz="91440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rPr>
                <a:t> </a:t>
              </a: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marL="0" marR="0" lvl="0" indent="0" defTabSz="932137" eaLnBrk="1" fontAlgn="auto" latinLnBrk="0" hangingPunct="1">
                <a:lnSpc>
                  <a:spcPts val="3000"/>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ndParaRPr>
            </a:p>
          </p:txBody>
        </p:sp>
      </p:grpSp>
    </p:spTree>
    <p:extLst>
      <p:ext uri="{BB962C8B-B14F-4D97-AF65-F5344CB8AC3E}">
        <p14:creationId xmlns:p14="http://schemas.microsoft.com/office/powerpoint/2010/main" val="3202516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Value>218</Value>
      <Value>217</Value>
      <Value>216</Value>
      <Value>2716</Value>
      <Value>2658</Value>
      <Value>3</Value>
      <Value>2654</Value>
      <Value>222</Value>
      <Value>3468</Value>
    </TaxCatchAll>
    <DocumentDescription xmlns="230e9df3-be65-4c73-a93b-d1236ebd677e">This decks gives an overview of the Suite and helps understand the various pieces it includes. It leads into the Dartmouth Hitchcock Healthcare customer demo showcasing the power of the Cortana Analytics, &lt;a href="http://infopedia/docstore/Pages/KCDoc.aspx?k=KC02-23-79426"&gt;located here.&lt;/a&gt;</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Ann Bachrach</DisplayName>
        <AccountId>44988</AccountId>
        <AccountType/>
      </UserInfo>
    </Owner>
    <k21a64daf20d4502b2796a1c6b8ce6c8 xmlns="230e9df3-be65-4c73-a93b-d1236ebd677e">
      <Terms xmlns="http://schemas.microsoft.com/office/infopath/2007/PartnerControls"/>
    </k21a64daf20d4502b2796a1c6b8ce6c8>
    <Expire_x0020_Review xmlns="230e9df3-be65-4c73-a93b-d1236ebd677e">2016-11-30T00: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Cortana</TermName>
          <TermId xmlns="http://schemas.microsoft.com/office/infopath/2007/PartnerControls">9ddf2d0d-10f8-4f45-a03c-9a1a5aa2df6a</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Cloud%20and%20Enterprise/KC02-23-75391/Cortana%20Analytics%20Suite.png</Url>
      <Description>/kc02/media/Thumbnails/Cloud and Enterprise/KC02-23-75391/Cortana Analytics Suite.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PublishingExpirationDate xmlns="http://schemas.microsoft.com/sharepoint/v3" xsi:nil="true"/>
    <RoutingRuleDescription xmlns="http://schemas.microsoft.com/sharepoint/v3" xsi:nil="true"/>
    <DocumentSetKcId xmlns="ad820760-4664-4be3-bee2-f8b9a6708b4c">75391</DocumentSetKcId>
    <CoOwner xmlns="ad820760-4664-4be3-bee2-f8b9a6708b4c">
      <UserInfo>
        <DisplayName>i:0#.w|redmond\meeryan</DisplayName>
        <AccountId>6624</AccountId>
        <AccountType/>
      </UserInfo>
      <UserInfo>
        <DisplayName>i:0#.w|redmond\v-pebouc</DisplayName>
        <AccountId>27606</AccountId>
        <AccountType/>
      </UserInfo>
      <UserInfo>
        <DisplayName>i:0#.w|redmond\v-anmarv</DisplayName>
        <AccountId>62976</AccountId>
        <AccountType/>
      </UserInfo>
      <UserInfo>
        <DisplayName>i:0#.w|redmond\v-danaja</DisplayName>
        <AccountId>168825</AccountId>
        <AccountType/>
      </UserInfo>
      <UserInfo>
        <DisplayName>i:0#.w|redmond\v-milaws</DisplayName>
        <AccountId>174984</AccountId>
        <AccountType/>
      </UserInfo>
    </CoOwner>
    <i1b478372f814787abd313030b81fcb2 xmlns="230e9df3-be65-4c73-a93b-d1236ebd677e">
      <Terms xmlns="http://schemas.microsoft.com/office/infopath/2007/PartnerControls"/>
    </i1b478372f814787abd313030b81fcb2>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KC02-23-79432</_dlc_DocId>
    <_dlc_DocIdUrl xmlns="230e9df3-be65-4c73-a93b-d1236ebd677e">
      <Url>http://infopedia/kc02/docstore/_layouts/DocIdRedir.aspx?ID=KC02-23-79432</Url>
      <Description>KC02-23-79432</Description>
    </_dlc_DocIdUrl>
    <AverageRating xmlns="http://schemas.microsoft.com/sharepoint/v3"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83A43617-DBEF-4F4F-9AB6-5141C081FE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customXml/itemProps4.xml><?xml version="1.0" encoding="utf-8"?>
<ds:datastoreItem xmlns:ds="http://schemas.openxmlformats.org/officeDocument/2006/customXml" ds:itemID="{5D9D532B-2C09-4856-88C0-4246067679C8}">
  <ds:schemaRefs>
    <ds:schemaRef ds:uri="http://schemas.microsoft.com/sharepoint/events"/>
  </ds:schemaRefs>
</ds:datastoreItem>
</file>

<file path=customXml/itemProps5.xml><?xml version="1.0" encoding="utf-8"?>
<ds:datastoreItem xmlns:ds="http://schemas.openxmlformats.org/officeDocument/2006/customXml" ds:itemID="{20755786-1E86-4909-9838-6594716606A6}">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Worldwide_Partner_Conference_2015_Template</Template>
  <TotalTime>2299</TotalTime>
  <Words>1829</Words>
  <Application>Microsoft Office PowerPoint</Application>
  <PresentationFormat>Custom</PresentationFormat>
  <Paragraphs>323</Paragraphs>
  <Slides>28</Slides>
  <Notes>17</Notes>
  <HiddenSlides>0</HiddenSlides>
  <MMClips>0</MMClips>
  <ScaleCrop>false</ScaleCrop>
  <HeadingPairs>
    <vt:vector size="8" baseType="variant">
      <vt:variant>
        <vt:lpstr>Fonts Used</vt:lpstr>
      </vt:variant>
      <vt:variant>
        <vt:i4>18</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50" baseType="lpstr">
      <vt:lpstr>Arial Unicode MS</vt:lpstr>
      <vt:lpstr>Arial</vt:lpstr>
      <vt:lpstr>Calibri</vt:lpstr>
      <vt:lpstr>Cambria</vt:lpstr>
      <vt:lpstr>Consolas</vt:lpstr>
      <vt:lpstr>MS PGothic</vt:lpstr>
      <vt:lpstr>MS PGothic</vt:lpstr>
      <vt:lpstr>Segoe</vt:lpstr>
      <vt:lpstr>Segoe Condensed</vt:lpstr>
      <vt:lpstr>Segoe Light</vt:lpstr>
      <vt:lpstr>Segoe UI</vt:lpstr>
      <vt:lpstr>Segoe UI Black</vt:lpstr>
      <vt:lpstr>Segoe UI Light</vt:lpstr>
      <vt:lpstr>Segoe UI Semibold</vt:lpstr>
      <vt:lpstr>Segoe UI Semilight</vt:lpstr>
      <vt:lpstr>Times New Roman</vt:lpstr>
      <vt:lpstr>Wingdings</vt:lpstr>
      <vt:lpstr>Wingdings 3</vt:lpstr>
      <vt:lpstr>COLOR TEMPLATE</vt:lpstr>
      <vt:lpstr>WHITE TEMPLATE</vt:lpstr>
      <vt:lpstr>5-30660_TR21_BO_CT_Template</vt:lpstr>
      <vt:lpstr>think-cell Slide</vt:lpstr>
      <vt:lpstr>Cortana Analytics Suite Transform Data Into Intelligent Action</vt:lpstr>
      <vt:lpstr>Accelerating the speed of business</vt:lpstr>
      <vt:lpstr>PowerPoint Presentation</vt:lpstr>
      <vt:lpstr>Cortana Analytics Suite</vt:lpstr>
      <vt:lpstr>Cortana Analytics Suite Transform data into intelligent action</vt:lpstr>
      <vt:lpstr>Cortana Analytics Suite Transform data into intelligent action</vt:lpstr>
      <vt:lpstr>Cortana Analytics scenarios</vt:lpstr>
      <vt:lpstr>Azure  SQL Database SQL Data Warehouse</vt:lpstr>
      <vt:lpstr>SQL Database Service</vt:lpstr>
      <vt:lpstr>Row-Level Security</vt:lpstr>
      <vt:lpstr>Transparent Data Encryption</vt:lpstr>
      <vt:lpstr>Introducing Azure SQL DW Service</vt:lpstr>
      <vt:lpstr>Elastic Scale</vt:lpstr>
      <vt:lpstr>Pause &amp; Restart</vt:lpstr>
      <vt:lpstr>SMP vs MPP </vt:lpstr>
      <vt:lpstr>Query unstructured data via Polybase/T-SQL</vt:lpstr>
      <vt:lpstr>PowerPoint Presentation</vt:lpstr>
      <vt:lpstr>Where does SQL DW fit?</vt:lpstr>
      <vt:lpstr>Azure Data Factory</vt:lpstr>
      <vt:lpstr>Azure Data Lake</vt:lpstr>
      <vt:lpstr>A highly scalable, distributed, parallel file system in the cloud  specifically designed to work with multiple analytic frameworks</vt:lpstr>
      <vt:lpstr>Azure Data Lake Analytics</vt:lpstr>
      <vt:lpstr>Work across all cloud data</vt:lpstr>
      <vt:lpstr>PowerPoint Presentation</vt:lpstr>
      <vt:lpstr>PowerPoint Presentation</vt:lpstr>
      <vt:lpstr>Azure Machine Learning</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Analytics Suite - Microsoft’s Data Platform</dc:title>
  <dc:subject>&lt;Speech title here&gt;</dc:subject>
  <dc:creator>Nishant.Thacker@microsoft.com</dc:creator>
  <cp:keywords/>
  <dc:description>Template: Claire Hoover, Silver Fox Productions Inc._x000d_
Formatting: _x000d_
Audience Type:Partners_x000d_
Event Location: Orlando, FL_x000d_
Event Dates: July 12-17, 2015</dc:description>
  <cp:lastModifiedBy>Bianca Furtuna</cp:lastModifiedBy>
  <cp:revision>124</cp:revision>
  <dcterms:created xsi:type="dcterms:W3CDTF">2015-06-25T22:24:32Z</dcterms:created>
  <dcterms:modified xsi:type="dcterms:W3CDTF">2016-03-09T10:5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90;#Orange County Convention Center|bd993e89-aa48-4695-84e0-3b53e88b1a79</vt:lpwstr>
  </property>
  <property fmtid="{D5CDD505-2E9C-101B-9397-08002B2CF9AE}" pid="7" name="Track">
    <vt:lpwstr/>
  </property>
  <property fmtid="{D5CDD505-2E9C-101B-9397-08002B2CF9AE}" pid="8" name="Event Location">
    <vt:lpwstr>187;#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Audience1">
    <vt:lpwstr>188;#partners|1d23b997-60ce-4cfd-9201-15f1ad449e79</vt:lpwstr>
  </property>
  <property fmtid="{D5CDD505-2E9C-101B-9397-08002B2CF9AE}" pid="13" name="Event Name">
    <vt:lpwstr>186;#Microsoft Worldwide Partner Conference|9b43908d-986c-478f-b248-1afc2bb4f235</vt:lpwstr>
  </property>
  <property fmtid="{D5CDD505-2E9C-101B-9397-08002B2CF9AE}" pid="14" name="Audiences">
    <vt:lpwstr/>
  </property>
  <property fmtid="{D5CDD505-2E9C-101B-9397-08002B2CF9AE}" pid="15" name="Region">
    <vt:lpwstr/>
  </property>
  <property fmtid="{D5CDD505-2E9C-101B-9397-08002B2CF9AE}" pid="16" name="Confidentiality">
    <vt:lpwstr>216;#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654;#Cloud and Enterprise|adc2fe87-c79a-4ded-a449-3f86b954069d;#217;#Microsoft Azure Domain|d600a391-d529-4311-892b-2c05c1ab2538</vt:lpwstr>
  </property>
  <property fmtid="{D5CDD505-2E9C-101B-9397-08002B2CF9AE}" pid="21" name="BusinessArchitecture">
    <vt:lpwstr>2658;#machine learning|912b89bd-3197-4d37-838b-dea3c299099a</vt:lpwstr>
  </property>
  <property fmtid="{D5CDD505-2E9C-101B-9397-08002B2CF9AE}" pid="22" name="Products">
    <vt:lpwstr>218;#Microsoft Azure|669a3112-5edf-444b-a003-630063601f07;#3468;#Cortana|9ddf2d0d-10f8-4f45-a03c-9a1a5aa2df6a</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2716;#features|94b87768-f145-4764-adbd-fec700e47348</vt:lpwstr>
  </property>
  <property fmtid="{D5CDD505-2E9C-101B-9397-08002B2CF9AE}" pid="27" name="Groups">
    <vt:lpwstr>222;#Microsoft Azure Marketing|0958c357-5252-473f-8b4e-42f27525a99d</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c1753fd1-10e6-46e6-965f-19b2e621da6c</vt:lpwstr>
  </property>
  <property fmtid="{D5CDD505-2E9C-101B-9397-08002B2CF9AE}" pid="31" name="p1cd454bacc149bfbcfd764edd279de7">
    <vt:lpwstr/>
  </property>
  <property fmtid="{D5CDD505-2E9C-101B-9397-08002B2CF9AE}" pid="32" name="ItemType">
    <vt:lpwstr>3;#customer presentations|18e9ae94-e321-4eea-82d2-ad5b2f470f3c</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1;4c942473-d120-4286-a51a-b65ad3d92ffb,17;</vt:lpwstr>
  </property>
</Properties>
</file>